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739" r:id="rId4"/>
  </p:sldMasterIdLst>
  <p:notesMasterIdLst>
    <p:notesMasterId r:id="rId10"/>
  </p:notesMasterIdLst>
  <p:handoutMasterIdLst>
    <p:handoutMasterId r:id="rId11"/>
  </p:handoutMasterIdLst>
  <p:sldIdLst>
    <p:sldId id="352" r:id="rId5"/>
    <p:sldId id="567" r:id="rId6"/>
    <p:sldId id="355" r:id="rId7"/>
    <p:sldId id="354" r:id="rId8"/>
    <p:sldId id="315" r:id="rId9"/>
  </p:sldIdLst>
  <p:sldSz cx="12192000" cy="6858000"/>
  <p:notesSz cx="6735763" cy="9866313"/>
  <p:custDataLst>
    <p:tags r:id="rId12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2160" userDrawn="1">
          <p15:clr>
            <a:srgbClr val="A4A3A4"/>
          </p15:clr>
        </p15:guide>
        <p15:guide id="4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nnah Skaar Hauge | THEMA" initials="HSH|T" lastIdx="1" clrIdx="0">
    <p:extLst>
      <p:ext uri="{19B8F6BF-5375-455C-9EA6-DF929625EA0E}">
        <p15:presenceInfo xmlns:p15="http://schemas.microsoft.com/office/powerpoint/2012/main" userId="S::hannah.hauge@thema.no::9d814d06-5ca8-44b7-b409-ca5bc16e63a1" providerId="AD"/>
      </p:ext>
    </p:extLst>
  </p:cmAuthor>
  <p:cmAuthor id="2" name="Lars Berg Byenstuen | THEMA" initials="LBB|T" lastIdx="1" clrIdx="1">
    <p:extLst>
      <p:ext uri="{19B8F6BF-5375-455C-9EA6-DF929625EA0E}">
        <p15:presenceInfo xmlns:p15="http://schemas.microsoft.com/office/powerpoint/2012/main" userId="S::lars.byenstuen@thema.no::fe89e715-da5d-4aad-919b-ade083964fe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FFFFFF"/>
    <a:srgbClr val="5B6D26"/>
    <a:srgbClr val="C00000"/>
    <a:srgbClr val="1C5158"/>
    <a:srgbClr val="41767C"/>
    <a:srgbClr val="72AEB8"/>
    <a:srgbClr val="FDCC41"/>
    <a:srgbClr val="1C5157"/>
    <a:srgbClr val="1F51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E25E649-3F16-4E02-A733-19D2CDBF48F0}" styleName="Middels stil 3 - aks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iddels sti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5BE263C-DBD7-4A20-BB59-AAB30ACAA65A}" styleName="Middels stil 3 - aks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Middels stil 3 - aks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6" autoAdjust="0"/>
    <p:restoredTop sz="92877" autoAdjust="0"/>
  </p:normalViewPr>
  <p:slideViewPr>
    <p:cSldViewPr snapToGrid="0">
      <p:cViewPr varScale="1">
        <p:scale>
          <a:sx n="109" d="100"/>
          <a:sy n="109" d="100"/>
        </p:scale>
        <p:origin x="174" y="3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45" d="100"/>
          <a:sy n="45" d="100"/>
        </p:scale>
        <p:origin x="2296" y="44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bert Seguin | THEMA" userId="0a78fad8-9c34-4359-b7ce-68185b865dbd" providerId="ADAL" clId="{7DE7B4AC-1CDE-4C07-83D8-45F5853B2EE6}"/>
    <pc:docChg chg="custSel delSld modSld modMainMaster replTag">
      <pc:chgData name="Robert Seguin | THEMA" userId="0a78fad8-9c34-4359-b7ce-68185b865dbd" providerId="ADAL" clId="{7DE7B4AC-1CDE-4C07-83D8-45F5853B2EE6}" dt="2022-11-16T08:49:40.261" v="150" actId="478"/>
      <pc:docMkLst>
        <pc:docMk/>
      </pc:docMkLst>
      <pc:sldChg chg="modSp mod">
        <pc:chgData name="Robert Seguin | THEMA" userId="0a78fad8-9c34-4359-b7ce-68185b865dbd" providerId="ADAL" clId="{7DE7B4AC-1CDE-4C07-83D8-45F5853B2EE6}" dt="2022-11-16T08:47:00.852" v="61" actId="790"/>
        <pc:sldMkLst>
          <pc:docMk/>
          <pc:sldMk cId="4265220768" sldId="315"/>
        </pc:sldMkLst>
        <pc:spChg chg="mod">
          <ac:chgData name="Robert Seguin | THEMA" userId="0a78fad8-9c34-4359-b7ce-68185b865dbd" providerId="ADAL" clId="{7DE7B4AC-1CDE-4C07-83D8-45F5853B2EE6}" dt="2022-11-16T08:47:00.852" v="61" actId="790"/>
          <ac:spMkLst>
            <pc:docMk/>
            <pc:sldMk cId="4265220768" sldId="315"/>
            <ac:spMk id="2" creationId="{88F91E05-5484-4909-9451-22880B1ED876}"/>
          </ac:spMkLst>
        </pc:spChg>
      </pc:sldChg>
      <pc:sldChg chg="modSp mod">
        <pc:chgData name="Robert Seguin | THEMA" userId="0a78fad8-9c34-4359-b7ce-68185b865dbd" providerId="ADAL" clId="{7DE7B4AC-1CDE-4C07-83D8-45F5853B2EE6}" dt="2022-11-16T08:47:00.793" v="18" actId="790"/>
        <pc:sldMkLst>
          <pc:docMk/>
          <pc:sldMk cId="131045311" sldId="352"/>
        </pc:sldMkLst>
        <pc:spChg chg="mod">
          <ac:chgData name="Robert Seguin | THEMA" userId="0a78fad8-9c34-4359-b7ce-68185b865dbd" providerId="ADAL" clId="{7DE7B4AC-1CDE-4C07-83D8-45F5853B2EE6}" dt="2022-11-16T08:47:00.791" v="15" actId="790"/>
          <ac:spMkLst>
            <pc:docMk/>
            <pc:sldMk cId="131045311" sldId="352"/>
            <ac:spMk id="3" creationId="{1F738768-7D0A-409A-AB04-B9D7D6030438}"/>
          </ac:spMkLst>
        </pc:spChg>
        <pc:spChg chg="mod">
          <ac:chgData name="Robert Seguin | THEMA" userId="0a78fad8-9c34-4359-b7ce-68185b865dbd" providerId="ADAL" clId="{7DE7B4AC-1CDE-4C07-83D8-45F5853B2EE6}" dt="2022-11-16T08:47:00.791" v="16" actId="790"/>
          <ac:spMkLst>
            <pc:docMk/>
            <pc:sldMk cId="131045311" sldId="352"/>
            <ac:spMk id="4" creationId="{60E80367-2598-4F0E-9083-C09F1606213E}"/>
          </ac:spMkLst>
        </pc:spChg>
        <pc:spChg chg="mod">
          <ac:chgData name="Robert Seguin | THEMA" userId="0a78fad8-9c34-4359-b7ce-68185b865dbd" providerId="ADAL" clId="{7DE7B4AC-1CDE-4C07-83D8-45F5853B2EE6}" dt="2022-11-16T08:47:00.792" v="17" actId="790"/>
          <ac:spMkLst>
            <pc:docMk/>
            <pc:sldMk cId="131045311" sldId="352"/>
            <ac:spMk id="5" creationId="{606166A5-A01D-45C3-B27F-61A339A91B9E}"/>
          </ac:spMkLst>
        </pc:spChg>
        <pc:spChg chg="mod">
          <ac:chgData name="Robert Seguin | THEMA" userId="0a78fad8-9c34-4359-b7ce-68185b865dbd" providerId="ADAL" clId="{7DE7B4AC-1CDE-4C07-83D8-45F5853B2EE6}" dt="2022-11-16T08:47:00.793" v="18" actId="790"/>
          <ac:spMkLst>
            <pc:docMk/>
            <pc:sldMk cId="131045311" sldId="352"/>
            <ac:spMk id="6" creationId="{54346AEB-7260-4782-8F5B-8264F4D67872}"/>
          </ac:spMkLst>
        </pc:spChg>
      </pc:sldChg>
      <pc:sldChg chg="delSp modSp mod">
        <pc:chgData name="Robert Seguin | THEMA" userId="0a78fad8-9c34-4359-b7ce-68185b865dbd" providerId="ADAL" clId="{7DE7B4AC-1CDE-4C07-83D8-45F5853B2EE6}" dt="2022-11-16T08:49:40.261" v="150" actId="478"/>
        <pc:sldMkLst>
          <pc:docMk/>
          <pc:sldMk cId="2022126425" sldId="354"/>
        </pc:sldMkLst>
        <pc:spChg chg="mod">
          <ac:chgData name="Robert Seguin | THEMA" userId="0a78fad8-9c34-4359-b7ce-68185b865dbd" providerId="ADAL" clId="{7DE7B4AC-1CDE-4C07-83D8-45F5853B2EE6}" dt="2022-11-16T08:47:00.839" v="52" actId="790"/>
          <ac:spMkLst>
            <pc:docMk/>
            <pc:sldMk cId="2022126425" sldId="354"/>
            <ac:spMk id="4" creationId="{1F3191D1-3E72-4FC3-91BE-18C128CB0F91}"/>
          </ac:spMkLst>
        </pc:spChg>
        <pc:spChg chg="mod">
          <ac:chgData name="Robert Seguin | THEMA" userId="0a78fad8-9c34-4359-b7ce-68185b865dbd" providerId="ADAL" clId="{7DE7B4AC-1CDE-4C07-83D8-45F5853B2EE6}" dt="2022-11-16T08:47:00.842" v="54" actId="790"/>
          <ac:spMkLst>
            <pc:docMk/>
            <pc:sldMk cId="2022126425" sldId="354"/>
            <ac:spMk id="22" creationId="{9CB12543-4E9B-492A-857E-76192B59F5AC}"/>
          </ac:spMkLst>
        </pc:spChg>
        <pc:spChg chg="del mod">
          <ac:chgData name="Robert Seguin | THEMA" userId="0a78fad8-9c34-4359-b7ce-68185b865dbd" providerId="ADAL" clId="{7DE7B4AC-1CDE-4C07-83D8-45F5853B2EE6}" dt="2022-11-16T08:49:40.261" v="150" actId="478"/>
          <ac:spMkLst>
            <pc:docMk/>
            <pc:sldMk cId="2022126425" sldId="354"/>
            <ac:spMk id="23" creationId="{3FE10806-B8FD-4808-8D4F-C498ECCD1664}"/>
          </ac:spMkLst>
        </pc:spChg>
        <pc:spChg chg="del mod">
          <ac:chgData name="Robert Seguin | THEMA" userId="0a78fad8-9c34-4359-b7ce-68185b865dbd" providerId="ADAL" clId="{7DE7B4AC-1CDE-4C07-83D8-45F5853B2EE6}" dt="2022-11-16T08:49:38.567" v="149" actId="478"/>
          <ac:spMkLst>
            <pc:docMk/>
            <pc:sldMk cId="2022126425" sldId="354"/>
            <ac:spMk id="24" creationId="{A6F11408-8C71-4293-86E7-6315DA67711F}"/>
          </ac:spMkLst>
        </pc:spChg>
        <pc:spChg chg="mod">
          <ac:chgData name="Robert Seguin | THEMA" userId="0a78fad8-9c34-4359-b7ce-68185b865dbd" providerId="ADAL" clId="{7DE7B4AC-1CDE-4C07-83D8-45F5853B2EE6}" dt="2022-11-16T08:47:00.840" v="53" actId="790"/>
          <ac:spMkLst>
            <pc:docMk/>
            <pc:sldMk cId="2022126425" sldId="354"/>
            <ac:spMk id="25" creationId="{29986454-1DCE-49A3-915C-CEEDCFF5E6B6}"/>
          </ac:spMkLst>
        </pc:spChg>
        <pc:spChg chg="mod">
          <ac:chgData name="Robert Seguin | THEMA" userId="0a78fad8-9c34-4359-b7ce-68185b865dbd" providerId="ADAL" clId="{7DE7B4AC-1CDE-4C07-83D8-45F5853B2EE6}" dt="2022-11-16T08:47:00.843" v="55" actId="790"/>
          <ac:spMkLst>
            <pc:docMk/>
            <pc:sldMk cId="2022126425" sldId="354"/>
            <ac:spMk id="26" creationId="{B8F64ED8-9FF3-45FF-B7DD-92918B9F7EC6}"/>
          </ac:spMkLst>
        </pc:spChg>
        <pc:spChg chg="mod">
          <ac:chgData name="Robert Seguin | THEMA" userId="0a78fad8-9c34-4359-b7ce-68185b865dbd" providerId="ADAL" clId="{7DE7B4AC-1CDE-4C07-83D8-45F5853B2EE6}" dt="2022-11-16T08:47:00.845" v="56" actId="790"/>
          <ac:spMkLst>
            <pc:docMk/>
            <pc:sldMk cId="2022126425" sldId="354"/>
            <ac:spMk id="27" creationId="{8C9D70E2-25B9-471A-BEF0-F31F98D56BCB}"/>
          </ac:spMkLst>
        </pc:spChg>
        <pc:spChg chg="mod">
          <ac:chgData name="Robert Seguin | THEMA" userId="0a78fad8-9c34-4359-b7ce-68185b865dbd" providerId="ADAL" clId="{7DE7B4AC-1CDE-4C07-83D8-45F5853B2EE6}" dt="2022-11-16T08:47:00.845" v="57" actId="790"/>
          <ac:spMkLst>
            <pc:docMk/>
            <pc:sldMk cId="2022126425" sldId="354"/>
            <ac:spMk id="28" creationId="{53837A82-661D-46C6-A96A-74AE25875B01}"/>
          </ac:spMkLst>
        </pc:spChg>
        <pc:spChg chg="mod">
          <ac:chgData name="Robert Seguin | THEMA" userId="0a78fad8-9c34-4359-b7ce-68185b865dbd" providerId="ADAL" clId="{7DE7B4AC-1CDE-4C07-83D8-45F5853B2EE6}" dt="2022-11-16T08:47:00.845" v="58" actId="790"/>
          <ac:spMkLst>
            <pc:docMk/>
            <pc:sldMk cId="2022126425" sldId="354"/>
            <ac:spMk id="29" creationId="{24F28524-7B24-4507-9FD3-709ED5495670}"/>
          </ac:spMkLst>
        </pc:spChg>
        <pc:spChg chg="mod">
          <ac:chgData name="Robert Seguin | THEMA" userId="0a78fad8-9c34-4359-b7ce-68185b865dbd" providerId="ADAL" clId="{7DE7B4AC-1CDE-4C07-83D8-45F5853B2EE6}" dt="2022-11-16T08:47:00.850" v="59" actId="790"/>
          <ac:spMkLst>
            <pc:docMk/>
            <pc:sldMk cId="2022126425" sldId="354"/>
            <ac:spMk id="30" creationId="{C5EBB322-CD7A-4D87-9AB9-A4AF82036319}"/>
          </ac:spMkLst>
        </pc:spChg>
        <pc:spChg chg="mod">
          <ac:chgData name="Robert Seguin | THEMA" userId="0a78fad8-9c34-4359-b7ce-68185b865dbd" providerId="ADAL" clId="{7DE7B4AC-1CDE-4C07-83D8-45F5853B2EE6}" dt="2022-11-16T08:47:00.837" v="49" actId="790"/>
          <ac:spMkLst>
            <pc:docMk/>
            <pc:sldMk cId="2022126425" sldId="354"/>
            <ac:spMk id="40" creationId="{31BBDD5E-8AE8-4F16-B437-9B386FFF65EF}"/>
          </ac:spMkLst>
        </pc:spChg>
        <pc:spChg chg="mod">
          <ac:chgData name="Robert Seguin | THEMA" userId="0a78fad8-9c34-4359-b7ce-68185b865dbd" providerId="ADAL" clId="{7DE7B4AC-1CDE-4C07-83D8-45F5853B2EE6}" dt="2022-11-16T08:47:00.852" v="60" actId="790"/>
          <ac:spMkLst>
            <pc:docMk/>
            <pc:sldMk cId="2022126425" sldId="354"/>
            <ac:spMk id="41" creationId="{A9709933-4A49-493D-B152-3313EFDA41EA}"/>
          </ac:spMkLst>
        </pc:spChg>
      </pc:sldChg>
      <pc:sldChg chg="delSp modSp mod">
        <pc:chgData name="Robert Seguin | THEMA" userId="0a78fad8-9c34-4359-b7ce-68185b865dbd" providerId="ADAL" clId="{7DE7B4AC-1CDE-4C07-83D8-45F5853B2EE6}" dt="2022-11-16T08:49:36.103" v="148" actId="478"/>
        <pc:sldMkLst>
          <pc:docMk/>
          <pc:sldMk cId="2273931979" sldId="355"/>
        </pc:sldMkLst>
        <pc:spChg chg="mod">
          <ac:chgData name="Robert Seguin | THEMA" userId="0a78fad8-9c34-4359-b7ce-68185b865dbd" providerId="ADAL" clId="{7DE7B4AC-1CDE-4C07-83D8-45F5853B2EE6}" dt="2022-11-16T08:47:00.821" v="38" actId="790"/>
          <ac:spMkLst>
            <pc:docMk/>
            <pc:sldMk cId="2273931979" sldId="355"/>
            <ac:spMk id="4" creationId="{AF3168A2-DDD2-453A-B4AF-1D35A7CD8D8A}"/>
          </ac:spMkLst>
        </pc:spChg>
        <pc:spChg chg="mod">
          <ac:chgData name="Robert Seguin | THEMA" userId="0a78fad8-9c34-4359-b7ce-68185b865dbd" providerId="ADAL" clId="{7DE7B4AC-1CDE-4C07-83D8-45F5853B2EE6}" dt="2022-11-16T08:47:00.826" v="40" actId="790"/>
          <ac:spMkLst>
            <pc:docMk/>
            <pc:sldMk cId="2273931979" sldId="355"/>
            <ac:spMk id="6" creationId="{73657D13-DB8B-4F15-B49A-D8956A11A066}"/>
          </ac:spMkLst>
        </pc:spChg>
        <pc:spChg chg="del mod">
          <ac:chgData name="Robert Seguin | THEMA" userId="0a78fad8-9c34-4359-b7ce-68185b865dbd" providerId="ADAL" clId="{7DE7B4AC-1CDE-4C07-83D8-45F5853B2EE6}" dt="2022-11-16T08:49:36.103" v="148" actId="478"/>
          <ac:spMkLst>
            <pc:docMk/>
            <pc:sldMk cId="2273931979" sldId="355"/>
            <ac:spMk id="20" creationId="{3626A4CD-8923-4DF7-BE67-43FAC3FF52D6}"/>
          </ac:spMkLst>
        </pc:spChg>
        <pc:spChg chg="mod">
          <ac:chgData name="Robert Seguin | THEMA" userId="0a78fad8-9c34-4359-b7ce-68185b865dbd" providerId="ADAL" clId="{7DE7B4AC-1CDE-4C07-83D8-45F5853B2EE6}" dt="2022-11-16T08:47:00.824" v="39" actId="790"/>
          <ac:spMkLst>
            <pc:docMk/>
            <pc:sldMk cId="2273931979" sldId="355"/>
            <ac:spMk id="22" creationId="{B5A956B6-399F-43BD-A9B7-56010019EE6D}"/>
          </ac:spMkLst>
        </pc:spChg>
        <pc:spChg chg="mod">
          <ac:chgData name="Robert Seguin | THEMA" userId="0a78fad8-9c34-4359-b7ce-68185b865dbd" providerId="ADAL" clId="{7DE7B4AC-1CDE-4C07-83D8-45F5853B2EE6}" dt="2022-11-16T08:47:00.827" v="41" actId="790"/>
          <ac:spMkLst>
            <pc:docMk/>
            <pc:sldMk cId="2273931979" sldId="355"/>
            <ac:spMk id="23" creationId="{494F269F-22D1-4169-8789-AD64EB691302}"/>
          </ac:spMkLst>
        </pc:spChg>
        <pc:spChg chg="mod">
          <ac:chgData name="Robert Seguin | THEMA" userId="0a78fad8-9c34-4359-b7ce-68185b865dbd" providerId="ADAL" clId="{7DE7B4AC-1CDE-4C07-83D8-45F5853B2EE6}" dt="2022-11-16T08:47:00.829" v="42" actId="790"/>
          <ac:spMkLst>
            <pc:docMk/>
            <pc:sldMk cId="2273931979" sldId="355"/>
            <ac:spMk id="24" creationId="{E65F6DCF-7C48-4EFA-BDA7-3B53EC0FA81F}"/>
          </ac:spMkLst>
        </pc:spChg>
        <pc:spChg chg="mod">
          <ac:chgData name="Robert Seguin | THEMA" userId="0a78fad8-9c34-4359-b7ce-68185b865dbd" providerId="ADAL" clId="{7DE7B4AC-1CDE-4C07-83D8-45F5853B2EE6}" dt="2022-11-16T08:47:00.829" v="43" actId="790"/>
          <ac:spMkLst>
            <pc:docMk/>
            <pc:sldMk cId="2273931979" sldId="355"/>
            <ac:spMk id="25" creationId="{B4FFDDA1-9C23-47C5-92C8-D4B7359F2249}"/>
          </ac:spMkLst>
        </pc:spChg>
        <pc:spChg chg="mod">
          <ac:chgData name="Robert Seguin | THEMA" userId="0a78fad8-9c34-4359-b7ce-68185b865dbd" providerId="ADAL" clId="{7DE7B4AC-1CDE-4C07-83D8-45F5853B2EE6}" dt="2022-11-16T08:47:00.832" v="44" actId="790"/>
          <ac:spMkLst>
            <pc:docMk/>
            <pc:sldMk cId="2273931979" sldId="355"/>
            <ac:spMk id="26" creationId="{D377914A-B837-488E-865C-E630FB4D1D72}"/>
          </ac:spMkLst>
        </pc:spChg>
        <pc:spChg chg="mod">
          <ac:chgData name="Robert Seguin | THEMA" userId="0a78fad8-9c34-4359-b7ce-68185b865dbd" providerId="ADAL" clId="{7DE7B4AC-1CDE-4C07-83D8-45F5853B2EE6}" dt="2022-11-16T08:47:00.833" v="45" actId="790"/>
          <ac:spMkLst>
            <pc:docMk/>
            <pc:sldMk cId="2273931979" sldId="355"/>
            <ac:spMk id="27" creationId="{FD4864A8-5600-4B69-9BAD-BAE7B74555EE}"/>
          </ac:spMkLst>
        </pc:spChg>
        <pc:spChg chg="del">
          <ac:chgData name="Robert Seguin | THEMA" userId="0a78fad8-9c34-4359-b7ce-68185b865dbd" providerId="ADAL" clId="{7DE7B4AC-1CDE-4C07-83D8-45F5853B2EE6}" dt="2022-11-11T12:52:15.138" v="1" actId="478"/>
          <ac:spMkLst>
            <pc:docMk/>
            <pc:sldMk cId="2273931979" sldId="355"/>
            <ac:spMk id="28" creationId="{789D171B-7C93-4824-A2E9-E49E5F801A9B}"/>
          </ac:spMkLst>
        </pc:spChg>
        <pc:spChg chg="del mod">
          <ac:chgData name="Robert Seguin | THEMA" userId="0a78fad8-9c34-4359-b7ce-68185b865dbd" providerId="ADAL" clId="{7DE7B4AC-1CDE-4C07-83D8-45F5853B2EE6}" dt="2022-11-16T08:49:33.597" v="147" actId="478"/>
          <ac:spMkLst>
            <pc:docMk/>
            <pc:sldMk cId="2273931979" sldId="355"/>
            <ac:spMk id="38" creationId="{470D88B7-5D9B-438F-9299-665E2B8A2566}"/>
          </ac:spMkLst>
        </pc:spChg>
        <pc:spChg chg="mod">
          <ac:chgData name="Robert Seguin | THEMA" userId="0a78fad8-9c34-4359-b7ce-68185b865dbd" providerId="ADAL" clId="{7DE7B4AC-1CDE-4C07-83D8-45F5853B2EE6}" dt="2022-11-16T08:47:00.820" v="36" actId="790"/>
          <ac:spMkLst>
            <pc:docMk/>
            <pc:sldMk cId="2273931979" sldId="355"/>
            <ac:spMk id="43" creationId="{00A8B6E0-B9FC-4ABD-8A6D-4FE166C262AD}"/>
          </ac:spMkLst>
        </pc:spChg>
        <pc:spChg chg="mod">
          <ac:chgData name="Robert Seguin | THEMA" userId="0a78fad8-9c34-4359-b7ce-68185b865dbd" providerId="ADAL" clId="{7DE7B4AC-1CDE-4C07-83D8-45F5853B2EE6}" dt="2022-11-16T08:47:00.820" v="35" actId="790"/>
          <ac:spMkLst>
            <pc:docMk/>
            <pc:sldMk cId="2273931979" sldId="355"/>
            <ac:spMk id="44" creationId="{7AADFF2B-3960-4196-B05A-27754DC24409}"/>
          </ac:spMkLst>
        </pc:spChg>
        <pc:spChg chg="mod">
          <ac:chgData name="Robert Seguin | THEMA" userId="0a78fad8-9c34-4359-b7ce-68185b865dbd" providerId="ADAL" clId="{7DE7B4AC-1CDE-4C07-83D8-45F5853B2EE6}" dt="2022-11-16T08:47:00.818" v="34" actId="790"/>
          <ac:spMkLst>
            <pc:docMk/>
            <pc:sldMk cId="2273931979" sldId="355"/>
            <ac:spMk id="45" creationId="{1760E6E6-838E-4EC5-BF8D-01395FD7E41C}"/>
          </ac:spMkLst>
        </pc:spChg>
        <pc:spChg chg="mod">
          <ac:chgData name="Robert Seguin | THEMA" userId="0a78fad8-9c34-4359-b7ce-68185b865dbd" providerId="ADAL" clId="{7DE7B4AC-1CDE-4C07-83D8-45F5853B2EE6}" dt="2022-11-16T08:47:00.835" v="47" actId="790"/>
          <ac:spMkLst>
            <pc:docMk/>
            <pc:sldMk cId="2273931979" sldId="355"/>
            <ac:spMk id="47" creationId="{7A25DA0B-923A-4207-B763-9950413B2AFF}"/>
          </ac:spMkLst>
        </pc:spChg>
        <pc:spChg chg="mod">
          <ac:chgData name="Robert Seguin | THEMA" userId="0a78fad8-9c34-4359-b7ce-68185b865dbd" providerId="ADAL" clId="{7DE7B4AC-1CDE-4C07-83D8-45F5853B2EE6}" dt="2022-11-16T08:47:00.837" v="48" actId="790"/>
          <ac:spMkLst>
            <pc:docMk/>
            <pc:sldMk cId="2273931979" sldId="355"/>
            <ac:spMk id="52" creationId="{08409A8D-D6D2-49FA-BA8A-C4277D78B38D}"/>
          </ac:spMkLst>
        </pc:spChg>
        <pc:picChg chg="mod">
          <ac:chgData name="Robert Seguin | THEMA" userId="0a78fad8-9c34-4359-b7ce-68185b865dbd" providerId="ADAL" clId="{7DE7B4AC-1CDE-4C07-83D8-45F5853B2EE6}" dt="2022-11-16T08:46:18.653" v="12" actId="1038"/>
          <ac:picMkLst>
            <pc:docMk/>
            <pc:sldMk cId="2273931979" sldId="355"/>
            <ac:picMk id="11" creationId="{B6D31EB7-EFBC-43F8-B5BE-4D397474960B}"/>
          </ac:picMkLst>
        </pc:picChg>
      </pc:sldChg>
      <pc:sldChg chg="del">
        <pc:chgData name="Robert Seguin | THEMA" userId="0a78fad8-9c34-4359-b7ce-68185b865dbd" providerId="ADAL" clId="{7DE7B4AC-1CDE-4C07-83D8-45F5853B2EE6}" dt="2022-11-11T12:52:10.253" v="0" actId="47"/>
        <pc:sldMkLst>
          <pc:docMk/>
          <pc:sldMk cId="2687450162" sldId="356"/>
        </pc:sldMkLst>
      </pc:sldChg>
      <pc:sldChg chg="del">
        <pc:chgData name="Robert Seguin | THEMA" userId="0a78fad8-9c34-4359-b7ce-68185b865dbd" providerId="ADAL" clId="{7DE7B4AC-1CDE-4C07-83D8-45F5853B2EE6}" dt="2022-11-11T12:52:10.253" v="0" actId="47"/>
        <pc:sldMkLst>
          <pc:docMk/>
          <pc:sldMk cId="1759448593" sldId="566"/>
        </pc:sldMkLst>
      </pc:sldChg>
      <pc:sldChg chg="delSp modSp mod">
        <pc:chgData name="Robert Seguin | THEMA" userId="0a78fad8-9c34-4359-b7ce-68185b865dbd" providerId="ADAL" clId="{7DE7B4AC-1CDE-4C07-83D8-45F5853B2EE6}" dt="2022-11-16T08:49:28.750" v="146" actId="478"/>
        <pc:sldMkLst>
          <pc:docMk/>
          <pc:sldMk cId="3409236241" sldId="567"/>
        </pc:sldMkLst>
        <pc:spChg chg="mod">
          <ac:chgData name="Robert Seguin | THEMA" userId="0a78fad8-9c34-4359-b7ce-68185b865dbd" providerId="ADAL" clId="{7DE7B4AC-1CDE-4C07-83D8-45F5853B2EE6}" dt="2022-11-16T08:47:00.804" v="22" actId="790"/>
          <ac:spMkLst>
            <pc:docMk/>
            <pc:sldMk cId="3409236241" sldId="567"/>
            <ac:spMk id="4" creationId="{986E6544-EDED-450C-83F3-EF0CCB8A70A0}"/>
          </ac:spMkLst>
        </pc:spChg>
        <pc:spChg chg="mod">
          <ac:chgData name="Robert Seguin | THEMA" userId="0a78fad8-9c34-4359-b7ce-68185b865dbd" providerId="ADAL" clId="{7DE7B4AC-1CDE-4C07-83D8-45F5853B2EE6}" dt="2022-11-16T08:47:00.806" v="23" actId="790"/>
          <ac:spMkLst>
            <pc:docMk/>
            <pc:sldMk cId="3409236241" sldId="567"/>
            <ac:spMk id="14" creationId="{AA108D1A-E70C-479C-9621-ED18E4949953}"/>
          </ac:spMkLst>
        </pc:spChg>
        <pc:spChg chg="mod">
          <ac:chgData name="Robert Seguin | THEMA" userId="0a78fad8-9c34-4359-b7ce-68185b865dbd" providerId="ADAL" clId="{7DE7B4AC-1CDE-4C07-83D8-45F5853B2EE6}" dt="2022-11-16T08:47:00.796" v="20" actId="790"/>
          <ac:spMkLst>
            <pc:docMk/>
            <pc:sldMk cId="3409236241" sldId="567"/>
            <ac:spMk id="16" creationId="{DC3E18D2-BCC5-4228-8712-6285FB7B8702}"/>
          </ac:spMkLst>
        </pc:spChg>
        <pc:spChg chg="mod">
          <ac:chgData name="Robert Seguin | THEMA" userId="0a78fad8-9c34-4359-b7ce-68185b865dbd" providerId="ADAL" clId="{7DE7B4AC-1CDE-4C07-83D8-45F5853B2EE6}" dt="2022-11-16T08:47:00.809" v="25" actId="790"/>
          <ac:spMkLst>
            <pc:docMk/>
            <pc:sldMk cId="3409236241" sldId="567"/>
            <ac:spMk id="20" creationId="{C605AB00-9098-45BA-8514-8AB4143F2726}"/>
          </ac:spMkLst>
        </pc:spChg>
        <pc:spChg chg="mod">
          <ac:chgData name="Robert Seguin | THEMA" userId="0a78fad8-9c34-4359-b7ce-68185b865dbd" providerId="ADAL" clId="{7DE7B4AC-1CDE-4C07-83D8-45F5853B2EE6}" dt="2022-11-16T08:47:00.810" v="26" actId="790"/>
          <ac:spMkLst>
            <pc:docMk/>
            <pc:sldMk cId="3409236241" sldId="567"/>
            <ac:spMk id="22" creationId="{B25BFCE3-DC23-4602-ADF7-992631749444}"/>
          </ac:spMkLst>
        </pc:spChg>
        <pc:spChg chg="mod">
          <ac:chgData name="Robert Seguin | THEMA" userId="0a78fad8-9c34-4359-b7ce-68185b865dbd" providerId="ADAL" clId="{7DE7B4AC-1CDE-4C07-83D8-45F5853B2EE6}" dt="2022-11-16T08:47:00.812" v="27" actId="790"/>
          <ac:spMkLst>
            <pc:docMk/>
            <pc:sldMk cId="3409236241" sldId="567"/>
            <ac:spMk id="23" creationId="{AB11344B-639C-433B-A322-7BB72155ECD0}"/>
          </ac:spMkLst>
        </pc:spChg>
        <pc:spChg chg="mod">
          <ac:chgData name="Robert Seguin | THEMA" userId="0a78fad8-9c34-4359-b7ce-68185b865dbd" providerId="ADAL" clId="{7DE7B4AC-1CDE-4C07-83D8-45F5853B2EE6}" dt="2022-11-16T08:47:00.813" v="28" actId="790"/>
          <ac:spMkLst>
            <pc:docMk/>
            <pc:sldMk cId="3409236241" sldId="567"/>
            <ac:spMk id="24" creationId="{D6936333-2C7C-4541-A723-D66B7CC60F37}"/>
          </ac:spMkLst>
        </pc:spChg>
        <pc:spChg chg="mod">
          <ac:chgData name="Robert Seguin | THEMA" userId="0a78fad8-9c34-4359-b7ce-68185b865dbd" providerId="ADAL" clId="{7DE7B4AC-1CDE-4C07-83D8-45F5853B2EE6}" dt="2022-11-16T08:47:00.813" v="29" actId="790"/>
          <ac:spMkLst>
            <pc:docMk/>
            <pc:sldMk cId="3409236241" sldId="567"/>
            <ac:spMk id="25" creationId="{CBC84D5A-F4CC-4278-9A78-B05D0F5FA240}"/>
          </ac:spMkLst>
        </pc:spChg>
        <pc:spChg chg="mod">
          <ac:chgData name="Robert Seguin | THEMA" userId="0a78fad8-9c34-4359-b7ce-68185b865dbd" providerId="ADAL" clId="{7DE7B4AC-1CDE-4C07-83D8-45F5853B2EE6}" dt="2022-11-16T08:47:00.815" v="30" actId="790"/>
          <ac:spMkLst>
            <pc:docMk/>
            <pc:sldMk cId="3409236241" sldId="567"/>
            <ac:spMk id="28" creationId="{08698789-C791-4F34-8CE5-2A57B5D5BF95}"/>
          </ac:spMkLst>
        </pc:spChg>
        <pc:spChg chg="mod">
          <ac:chgData name="Robert Seguin | THEMA" userId="0a78fad8-9c34-4359-b7ce-68185b865dbd" providerId="ADAL" clId="{7DE7B4AC-1CDE-4C07-83D8-45F5853B2EE6}" dt="2022-11-16T08:47:00.817" v="31" actId="790"/>
          <ac:spMkLst>
            <pc:docMk/>
            <pc:sldMk cId="3409236241" sldId="567"/>
            <ac:spMk id="29" creationId="{6E326EE4-7282-4434-8E4D-18A097FBAC79}"/>
          </ac:spMkLst>
        </pc:spChg>
        <pc:spChg chg="mod">
          <ac:chgData name="Robert Seguin | THEMA" userId="0a78fad8-9c34-4359-b7ce-68185b865dbd" providerId="ADAL" clId="{7DE7B4AC-1CDE-4C07-83D8-45F5853B2EE6}" dt="2022-11-16T08:47:00.817" v="32" actId="790"/>
          <ac:spMkLst>
            <pc:docMk/>
            <pc:sldMk cId="3409236241" sldId="567"/>
            <ac:spMk id="30" creationId="{3B843B92-9301-45F6-9C54-5CCC5D72CCC6}"/>
          </ac:spMkLst>
        </pc:spChg>
        <pc:spChg chg="mod">
          <ac:chgData name="Robert Seguin | THEMA" userId="0a78fad8-9c34-4359-b7ce-68185b865dbd" providerId="ADAL" clId="{7DE7B4AC-1CDE-4C07-83D8-45F5853B2EE6}" dt="2022-11-16T08:47:00.818" v="33" actId="790"/>
          <ac:spMkLst>
            <pc:docMk/>
            <pc:sldMk cId="3409236241" sldId="567"/>
            <ac:spMk id="34" creationId="{8EFCE4EF-C38B-423E-9A18-1CF49D071DDC}"/>
          </ac:spMkLst>
        </pc:spChg>
        <pc:spChg chg="del mod">
          <ac:chgData name="Robert Seguin | THEMA" userId="0a78fad8-9c34-4359-b7ce-68185b865dbd" providerId="ADAL" clId="{7DE7B4AC-1CDE-4C07-83D8-45F5853B2EE6}" dt="2022-11-16T08:49:28.750" v="146" actId="478"/>
          <ac:spMkLst>
            <pc:docMk/>
            <pc:sldMk cId="3409236241" sldId="567"/>
            <ac:spMk id="39" creationId="{7C56A7E9-EFFC-4F1C-842B-B5CA6F846B84}"/>
          </ac:spMkLst>
        </pc:spChg>
        <pc:spChg chg="mod">
          <ac:chgData name="Robert Seguin | THEMA" userId="0a78fad8-9c34-4359-b7ce-68185b865dbd" providerId="ADAL" clId="{7DE7B4AC-1CDE-4C07-83D8-45F5853B2EE6}" dt="2022-11-16T08:47:00.807" v="24" actId="790"/>
          <ac:spMkLst>
            <pc:docMk/>
            <pc:sldMk cId="3409236241" sldId="567"/>
            <ac:spMk id="41" creationId="{8C6C80E8-F22A-4278-A75C-97A8B63452F3}"/>
          </ac:spMkLst>
        </pc:spChg>
        <pc:spChg chg="mod">
          <ac:chgData name="Robert Seguin | THEMA" userId="0a78fad8-9c34-4359-b7ce-68185b865dbd" providerId="ADAL" clId="{7DE7B4AC-1CDE-4C07-83D8-45F5853B2EE6}" dt="2022-11-16T08:47:00.794" v="19" actId="790"/>
          <ac:spMkLst>
            <pc:docMk/>
            <pc:sldMk cId="3409236241" sldId="567"/>
            <ac:spMk id="52" creationId="{41ED5912-990B-438F-87B4-BEAF02BCB254}"/>
          </ac:spMkLst>
        </pc:spChg>
      </pc:sldChg>
      <pc:sldChg chg="del">
        <pc:chgData name="Robert Seguin | THEMA" userId="0a78fad8-9c34-4359-b7ce-68185b865dbd" providerId="ADAL" clId="{7DE7B4AC-1CDE-4C07-83D8-45F5853B2EE6}" dt="2022-11-11T12:52:18.181" v="2" actId="47"/>
        <pc:sldMkLst>
          <pc:docMk/>
          <pc:sldMk cId="2534738431" sldId="568"/>
        </pc:sldMkLst>
      </pc:sldChg>
      <pc:sldChg chg="del">
        <pc:chgData name="Robert Seguin | THEMA" userId="0a78fad8-9c34-4359-b7ce-68185b865dbd" providerId="ADAL" clId="{7DE7B4AC-1CDE-4C07-83D8-45F5853B2EE6}" dt="2022-11-11T12:52:18.181" v="2" actId="47"/>
        <pc:sldMkLst>
          <pc:docMk/>
          <pc:sldMk cId="4118961002" sldId="569"/>
        </pc:sldMkLst>
      </pc:sldChg>
      <pc:sldMasterChg chg="delSldLayout modSldLayout">
        <pc:chgData name="Robert Seguin | THEMA" userId="0a78fad8-9c34-4359-b7ce-68185b865dbd" providerId="ADAL" clId="{7DE7B4AC-1CDE-4C07-83D8-45F5853B2EE6}" dt="2022-11-16T08:47:00.939" v="145" actId="790"/>
        <pc:sldMasterMkLst>
          <pc:docMk/>
          <pc:sldMasterMk cId="30252835" sldId="2147483739"/>
        </pc:sldMasterMkLst>
        <pc:sldLayoutChg chg="modSp mod">
          <pc:chgData name="Robert Seguin | THEMA" userId="0a78fad8-9c34-4359-b7ce-68185b865dbd" providerId="ADAL" clId="{7DE7B4AC-1CDE-4C07-83D8-45F5853B2EE6}" dt="2022-11-16T08:47:00.877" v="78" actId="790"/>
          <pc:sldLayoutMkLst>
            <pc:docMk/>
            <pc:sldMasterMk cId="30252835" sldId="2147483739"/>
            <pc:sldLayoutMk cId="814010502" sldId="2147483718"/>
          </pc:sldLayoutMkLst>
          <pc:spChg chg="mod">
            <ac:chgData name="Robert Seguin | THEMA" userId="0a78fad8-9c34-4359-b7ce-68185b865dbd" providerId="ADAL" clId="{7DE7B4AC-1CDE-4C07-83D8-45F5853B2EE6}" dt="2022-11-16T08:47:00.876" v="77" actId="790"/>
            <ac:spMkLst>
              <pc:docMk/>
              <pc:sldMasterMk cId="30252835" sldId="2147483739"/>
              <pc:sldLayoutMk cId="814010502" sldId="2147483718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873" v="74" actId="790"/>
            <ac:spMkLst>
              <pc:docMk/>
              <pc:sldMasterMk cId="30252835" sldId="2147483739"/>
              <pc:sldLayoutMk cId="814010502" sldId="2147483718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873" v="75" actId="790"/>
            <ac:spMkLst>
              <pc:docMk/>
              <pc:sldMasterMk cId="30252835" sldId="2147483739"/>
              <pc:sldLayoutMk cId="814010502" sldId="2147483718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877" v="78" actId="790"/>
            <ac:spMkLst>
              <pc:docMk/>
              <pc:sldMasterMk cId="30252835" sldId="2147483739"/>
              <pc:sldLayoutMk cId="814010502" sldId="2147483718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874" v="76" actId="790"/>
            <ac:spMkLst>
              <pc:docMk/>
              <pc:sldMasterMk cId="30252835" sldId="2147483739"/>
              <pc:sldLayoutMk cId="814010502" sldId="2147483718"/>
              <ac:spMk id="14" creationId="{0444E369-5184-4B04-8D0F-544E8296CC39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869" v="69" actId="790"/>
          <pc:sldLayoutMkLst>
            <pc:docMk/>
            <pc:sldMasterMk cId="30252835" sldId="2147483739"/>
            <pc:sldLayoutMk cId="2161587895" sldId="2147483740"/>
          </pc:sldLayoutMkLst>
          <pc:spChg chg="mod">
            <ac:chgData name="Robert Seguin | THEMA" userId="0a78fad8-9c34-4359-b7ce-68185b865dbd" providerId="ADAL" clId="{7DE7B4AC-1CDE-4C07-83D8-45F5853B2EE6}" dt="2022-11-16T08:47:00.868" v="68" actId="790"/>
            <ac:spMkLst>
              <pc:docMk/>
              <pc:sldMasterMk cId="30252835" sldId="2147483739"/>
              <pc:sldLayoutMk cId="2161587895" sldId="2147483740"/>
              <ac:spMk id="6" creationId="{7B77A622-0DD2-4EE2-A43F-D3E8339B01D6}"/>
            </ac:spMkLst>
          </pc:spChg>
          <pc:spChg chg="mod">
            <ac:chgData name="Robert Seguin | THEMA" userId="0a78fad8-9c34-4359-b7ce-68185b865dbd" providerId="ADAL" clId="{7DE7B4AC-1CDE-4C07-83D8-45F5853B2EE6}" dt="2022-11-16T08:47:00.867" v="67" actId="790"/>
            <ac:spMkLst>
              <pc:docMk/>
              <pc:sldMasterMk cId="30252835" sldId="2147483739"/>
              <pc:sldLayoutMk cId="2161587895" sldId="2147483740"/>
              <ac:spMk id="9" creationId="{1AD60567-7B76-4939-8DE9-B1D6A37F97F2}"/>
            </ac:spMkLst>
          </pc:spChg>
          <pc:spChg chg="mod">
            <ac:chgData name="Robert Seguin | THEMA" userId="0a78fad8-9c34-4359-b7ce-68185b865dbd" providerId="ADAL" clId="{7DE7B4AC-1CDE-4C07-83D8-45F5853B2EE6}" dt="2022-11-16T08:47:00.869" v="69" actId="790"/>
            <ac:spMkLst>
              <pc:docMk/>
              <pc:sldMasterMk cId="30252835" sldId="2147483739"/>
              <pc:sldLayoutMk cId="2161587895" sldId="2147483740"/>
              <ac:spMk id="17" creationId="{3E74AD1A-8083-409F-99DE-4C582897DE31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866" v="66" actId="790"/>
          <pc:sldLayoutMkLst>
            <pc:docMk/>
            <pc:sldMasterMk cId="30252835" sldId="2147483739"/>
            <pc:sldLayoutMk cId="814147367" sldId="2147483752"/>
          </pc:sldLayoutMkLst>
          <pc:spChg chg="mod">
            <ac:chgData name="Robert Seguin | THEMA" userId="0a78fad8-9c34-4359-b7ce-68185b865dbd" providerId="ADAL" clId="{7DE7B4AC-1CDE-4C07-83D8-45F5853B2EE6}" dt="2022-11-16T08:47:00.861" v="62" actId="790"/>
            <ac:spMkLst>
              <pc:docMk/>
              <pc:sldMasterMk cId="30252835" sldId="2147483739"/>
              <pc:sldLayoutMk cId="814147367" sldId="2147483752"/>
              <ac:spMk id="3" creationId="{00000000-0000-0000-0000-000000000000}"/>
            </ac:spMkLst>
          </pc:spChg>
          <pc:spChg chg="mod">
            <ac:chgData name="Robert Seguin | THEMA" userId="0a78fad8-9c34-4359-b7ce-68185b865dbd" providerId="ADAL" clId="{7DE7B4AC-1CDE-4C07-83D8-45F5853B2EE6}" dt="2022-11-16T08:47:00.862" v="63" actId="790"/>
            <ac:spMkLst>
              <pc:docMk/>
              <pc:sldMasterMk cId="30252835" sldId="2147483739"/>
              <pc:sldLayoutMk cId="814147367" sldId="2147483752"/>
              <ac:spMk id="12" creationId="{5B43FB77-D2A6-40A8-B5D3-AAB373BBDD46}"/>
            </ac:spMkLst>
          </pc:spChg>
          <pc:spChg chg="mod">
            <ac:chgData name="Robert Seguin | THEMA" userId="0a78fad8-9c34-4359-b7ce-68185b865dbd" providerId="ADAL" clId="{7DE7B4AC-1CDE-4C07-83D8-45F5853B2EE6}" dt="2022-11-16T08:47:00.863" v="64" actId="790"/>
            <ac:spMkLst>
              <pc:docMk/>
              <pc:sldMasterMk cId="30252835" sldId="2147483739"/>
              <pc:sldLayoutMk cId="814147367" sldId="2147483752"/>
              <ac:spMk id="15" creationId="{00000000-0000-0000-0000-000000000000}"/>
            </ac:spMkLst>
          </pc:spChg>
          <pc:spChg chg="mod">
            <ac:chgData name="Robert Seguin | THEMA" userId="0a78fad8-9c34-4359-b7ce-68185b865dbd" providerId="ADAL" clId="{7DE7B4AC-1CDE-4C07-83D8-45F5853B2EE6}" dt="2022-11-16T08:47:00.864" v="65" actId="790"/>
            <ac:spMkLst>
              <pc:docMk/>
              <pc:sldMasterMk cId="30252835" sldId="2147483739"/>
              <pc:sldLayoutMk cId="814147367" sldId="2147483752"/>
              <ac:spMk id="17" creationId="{00000000-0000-0000-0000-000000000000}"/>
            </ac:spMkLst>
          </pc:spChg>
          <pc:spChg chg="mod">
            <ac:chgData name="Robert Seguin | THEMA" userId="0a78fad8-9c34-4359-b7ce-68185b865dbd" providerId="ADAL" clId="{7DE7B4AC-1CDE-4C07-83D8-45F5853B2EE6}" dt="2022-11-16T08:47:00.866" v="66" actId="790"/>
            <ac:spMkLst>
              <pc:docMk/>
              <pc:sldMasterMk cId="30252835" sldId="2147483739"/>
              <pc:sldLayoutMk cId="814147367" sldId="2147483752"/>
              <ac:spMk id="18" creationId="{00000000-0000-0000-0000-000000000000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871" v="73" actId="790"/>
          <pc:sldLayoutMkLst>
            <pc:docMk/>
            <pc:sldMasterMk cId="30252835" sldId="2147483739"/>
            <pc:sldLayoutMk cId="4053884405" sldId="2147483779"/>
          </pc:sldLayoutMkLst>
          <pc:spChg chg="mod">
            <ac:chgData name="Robert Seguin | THEMA" userId="0a78fad8-9c34-4359-b7ce-68185b865dbd" providerId="ADAL" clId="{7DE7B4AC-1CDE-4C07-83D8-45F5853B2EE6}" dt="2022-11-16T08:47:00.871" v="72" actId="790"/>
            <ac:spMkLst>
              <pc:docMk/>
              <pc:sldMasterMk cId="30252835" sldId="2147483739"/>
              <pc:sldLayoutMk cId="4053884405" sldId="2147483779"/>
              <ac:spMk id="6" creationId="{B98E1304-CBF6-4CB7-ABC4-E54C88677935}"/>
            </ac:spMkLst>
          </pc:spChg>
          <pc:spChg chg="mod">
            <ac:chgData name="Robert Seguin | THEMA" userId="0a78fad8-9c34-4359-b7ce-68185b865dbd" providerId="ADAL" clId="{7DE7B4AC-1CDE-4C07-83D8-45F5853B2EE6}" dt="2022-11-16T08:47:00.871" v="73" actId="790"/>
            <ac:spMkLst>
              <pc:docMk/>
              <pc:sldMasterMk cId="30252835" sldId="2147483739"/>
              <pc:sldLayoutMk cId="4053884405" sldId="2147483779"/>
              <ac:spMk id="7" creationId="{942191A7-2AE5-47F9-B17D-7B65E454FCC0}"/>
            </ac:spMkLst>
          </pc:spChg>
          <pc:spChg chg="mod">
            <ac:chgData name="Robert Seguin | THEMA" userId="0a78fad8-9c34-4359-b7ce-68185b865dbd" providerId="ADAL" clId="{7DE7B4AC-1CDE-4C07-83D8-45F5853B2EE6}" dt="2022-11-16T08:47:00.870" v="70" actId="790"/>
            <ac:spMkLst>
              <pc:docMk/>
              <pc:sldMasterMk cId="30252835" sldId="2147483739"/>
              <pc:sldLayoutMk cId="4053884405" sldId="2147483779"/>
              <ac:spMk id="10" creationId="{E769351F-877B-4AA2-A540-2E709CD52FC0}"/>
            </ac:spMkLst>
          </pc:spChg>
          <pc:spChg chg="mod">
            <ac:chgData name="Robert Seguin | THEMA" userId="0a78fad8-9c34-4359-b7ce-68185b865dbd" providerId="ADAL" clId="{7DE7B4AC-1CDE-4C07-83D8-45F5853B2EE6}" dt="2022-11-16T08:47:00.870" v="71" actId="790"/>
            <ac:spMkLst>
              <pc:docMk/>
              <pc:sldMasterMk cId="30252835" sldId="2147483739"/>
              <pc:sldLayoutMk cId="4053884405" sldId="2147483779"/>
              <ac:spMk id="11" creationId="{22D8470A-9DA9-482D-B35A-A5AB8DA3F220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884" v="86" actId="790"/>
          <pc:sldLayoutMkLst>
            <pc:docMk/>
            <pc:sldMasterMk cId="30252835" sldId="2147483739"/>
            <pc:sldLayoutMk cId="815200820" sldId="2147483802"/>
          </pc:sldLayoutMkLst>
          <pc:spChg chg="mod">
            <ac:chgData name="Robert Seguin | THEMA" userId="0a78fad8-9c34-4359-b7ce-68185b865dbd" providerId="ADAL" clId="{7DE7B4AC-1CDE-4C07-83D8-45F5853B2EE6}" dt="2022-11-16T08:47:00.880" v="82" actId="790"/>
            <ac:spMkLst>
              <pc:docMk/>
              <pc:sldMasterMk cId="30252835" sldId="2147483739"/>
              <pc:sldLayoutMk cId="815200820" sldId="2147483802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883" v="84" actId="790"/>
            <ac:spMkLst>
              <pc:docMk/>
              <pc:sldMasterMk cId="30252835" sldId="2147483739"/>
              <pc:sldLayoutMk cId="815200820" sldId="2147483802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878" v="79" actId="790"/>
            <ac:spMkLst>
              <pc:docMk/>
              <pc:sldMasterMk cId="30252835" sldId="2147483739"/>
              <pc:sldLayoutMk cId="815200820" sldId="2147483802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878" v="80" actId="790"/>
            <ac:spMkLst>
              <pc:docMk/>
              <pc:sldMasterMk cId="30252835" sldId="2147483739"/>
              <pc:sldLayoutMk cId="815200820" sldId="2147483802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882" v="83" actId="790"/>
            <ac:spMkLst>
              <pc:docMk/>
              <pc:sldMasterMk cId="30252835" sldId="2147483739"/>
              <pc:sldLayoutMk cId="815200820" sldId="2147483802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879" v="81" actId="790"/>
            <ac:spMkLst>
              <pc:docMk/>
              <pc:sldMasterMk cId="30252835" sldId="2147483739"/>
              <pc:sldLayoutMk cId="815200820" sldId="2147483802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884" v="85" actId="790"/>
            <ac:spMkLst>
              <pc:docMk/>
              <pc:sldMasterMk cId="30252835" sldId="2147483739"/>
              <pc:sldLayoutMk cId="815200820" sldId="2147483802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884" v="86" actId="790"/>
            <ac:spMkLst>
              <pc:docMk/>
              <pc:sldMasterMk cId="30252835" sldId="2147483739"/>
              <pc:sldLayoutMk cId="815200820" sldId="2147483802"/>
              <ac:spMk id="17" creationId="{B502059C-0C5A-4EC2-BE56-59ACF10756AA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894" v="96" actId="790"/>
          <pc:sldLayoutMkLst>
            <pc:docMk/>
            <pc:sldMasterMk cId="30252835" sldId="2147483739"/>
            <pc:sldLayoutMk cId="2183448640" sldId="2147483804"/>
          </pc:sldLayoutMkLst>
          <pc:spChg chg="mod">
            <ac:chgData name="Robert Seguin | THEMA" userId="0a78fad8-9c34-4359-b7ce-68185b865dbd" providerId="ADAL" clId="{7DE7B4AC-1CDE-4C07-83D8-45F5853B2EE6}" dt="2022-11-16T08:47:00.888" v="90" actId="790"/>
            <ac:spMkLst>
              <pc:docMk/>
              <pc:sldMasterMk cId="30252835" sldId="2147483739"/>
              <pc:sldLayoutMk cId="2183448640" sldId="2147483804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890" v="92" actId="790"/>
            <ac:spMkLst>
              <pc:docMk/>
              <pc:sldMasterMk cId="30252835" sldId="2147483739"/>
              <pc:sldLayoutMk cId="2183448640" sldId="2147483804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886" v="87" actId="790"/>
            <ac:spMkLst>
              <pc:docMk/>
              <pc:sldMasterMk cId="30252835" sldId="2147483739"/>
              <pc:sldLayoutMk cId="2183448640" sldId="2147483804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886" v="88" actId="790"/>
            <ac:spMkLst>
              <pc:docMk/>
              <pc:sldMasterMk cId="30252835" sldId="2147483739"/>
              <pc:sldLayoutMk cId="2183448640" sldId="2147483804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890" v="91" actId="790"/>
            <ac:spMkLst>
              <pc:docMk/>
              <pc:sldMasterMk cId="30252835" sldId="2147483739"/>
              <pc:sldLayoutMk cId="2183448640" sldId="2147483804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887" v="89" actId="790"/>
            <ac:spMkLst>
              <pc:docMk/>
              <pc:sldMasterMk cId="30252835" sldId="2147483739"/>
              <pc:sldLayoutMk cId="2183448640" sldId="2147483804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891" v="93" actId="790"/>
            <ac:spMkLst>
              <pc:docMk/>
              <pc:sldMasterMk cId="30252835" sldId="2147483739"/>
              <pc:sldLayoutMk cId="2183448640" sldId="2147483804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892" v="94" actId="790"/>
            <ac:spMkLst>
              <pc:docMk/>
              <pc:sldMasterMk cId="30252835" sldId="2147483739"/>
              <pc:sldLayoutMk cId="2183448640" sldId="2147483804"/>
              <ac:spMk id="17" creationId="{B502059C-0C5A-4EC2-BE56-59ACF10756AA}"/>
            </ac:spMkLst>
          </pc:spChg>
          <pc:spChg chg="mod">
            <ac:chgData name="Robert Seguin | THEMA" userId="0a78fad8-9c34-4359-b7ce-68185b865dbd" providerId="ADAL" clId="{7DE7B4AC-1CDE-4C07-83D8-45F5853B2EE6}" dt="2022-11-16T08:47:00.893" v="95" actId="790"/>
            <ac:spMkLst>
              <pc:docMk/>
              <pc:sldMasterMk cId="30252835" sldId="2147483739"/>
              <pc:sldLayoutMk cId="2183448640" sldId="2147483804"/>
              <ac:spMk id="19" creationId="{D0751342-EA3C-4F4E-8AF3-8F7212D50B2F}"/>
            </ac:spMkLst>
          </pc:spChg>
          <pc:spChg chg="mod">
            <ac:chgData name="Robert Seguin | THEMA" userId="0a78fad8-9c34-4359-b7ce-68185b865dbd" providerId="ADAL" clId="{7DE7B4AC-1CDE-4C07-83D8-45F5853B2EE6}" dt="2022-11-16T08:47:00.894" v="96" actId="790"/>
            <ac:spMkLst>
              <pc:docMk/>
              <pc:sldMasterMk cId="30252835" sldId="2147483739"/>
              <pc:sldLayoutMk cId="2183448640" sldId="2147483804"/>
              <ac:spMk id="20" creationId="{E5B0E475-5034-40D1-BF3A-7813C78D9F2B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901" v="104" actId="790"/>
          <pc:sldLayoutMkLst>
            <pc:docMk/>
            <pc:sldMasterMk cId="30252835" sldId="2147483739"/>
            <pc:sldLayoutMk cId="3238625997" sldId="2147483805"/>
          </pc:sldLayoutMkLst>
          <pc:spChg chg="mod">
            <ac:chgData name="Robert Seguin | THEMA" userId="0a78fad8-9c34-4359-b7ce-68185b865dbd" providerId="ADAL" clId="{7DE7B4AC-1CDE-4C07-83D8-45F5853B2EE6}" dt="2022-11-16T08:47:00.899" v="100" actId="790"/>
            <ac:spMkLst>
              <pc:docMk/>
              <pc:sldMasterMk cId="30252835" sldId="2147483739"/>
              <pc:sldLayoutMk cId="3238625997" sldId="2147483805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900" v="102" actId="790"/>
            <ac:spMkLst>
              <pc:docMk/>
              <pc:sldMasterMk cId="30252835" sldId="2147483739"/>
              <pc:sldLayoutMk cId="3238625997" sldId="2147483805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896" v="97" actId="790"/>
            <ac:spMkLst>
              <pc:docMk/>
              <pc:sldMasterMk cId="30252835" sldId="2147483739"/>
              <pc:sldLayoutMk cId="3238625997" sldId="2147483805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896" v="98" actId="790"/>
            <ac:spMkLst>
              <pc:docMk/>
              <pc:sldMasterMk cId="30252835" sldId="2147483739"/>
              <pc:sldLayoutMk cId="3238625997" sldId="2147483805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899" v="101" actId="790"/>
            <ac:spMkLst>
              <pc:docMk/>
              <pc:sldMasterMk cId="30252835" sldId="2147483739"/>
              <pc:sldLayoutMk cId="3238625997" sldId="2147483805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896" v="99" actId="790"/>
            <ac:spMkLst>
              <pc:docMk/>
              <pc:sldMasterMk cId="30252835" sldId="2147483739"/>
              <pc:sldLayoutMk cId="3238625997" sldId="2147483805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901" v="103" actId="790"/>
            <ac:spMkLst>
              <pc:docMk/>
              <pc:sldMasterMk cId="30252835" sldId="2147483739"/>
              <pc:sldLayoutMk cId="3238625997" sldId="2147483805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901" v="104" actId="790"/>
            <ac:spMkLst>
              <pc:docMk/>
              <pc:sldMasterMk cId="30252835" sldId="2147483739"/>
              <pc:sldLayoutMk cId="3238625997" sldId="2147483805"/>
              <ac:spMk id="17" creationId="{B502059C-0C5A-4EC2-BE56-59ACF10756AA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910" v="112" actId="790"/>
          <pc:sldLayoutMkLst>
            <pc:docMk/>
            <pc:sldMasterMk cId="30252835" sldId="2147483739"/>
            <pc:sldLayoutMk cId="820824219" sldId="2147483806"/>
          </pc:sldLayoutMkLst>
          <pc:spChg chg="mod">
            <ac:chgData name="Robert Seguin | THEMA" userId="0a78fad8-9c34-4359-b7ce-68185b865dbd" providerId="ADAL" clId="{7DE7B4AC-1CDE-4C07-83D8-45F5853B2EE6}" dt="2022-11-16T08:47:00.907" v="108" actId="790"/>
            <ac:spMkLst>
              <pc:docMk/>
              <pc:sldMasterMk cId="30252835" sldId="2147483739"/>
              <pc:sldLayoutMk cId="820824219" sldId="2147483806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909" v="110" actId="790"/>
            <ac:spMkLst>
              <pc:docMk/>
              <pc:sldMasterMk cId="30252835" sldId="2147483739"/>
              <pc:sldLayoutMk cId="820824219" sldId="2147483806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903" v="105" actId="790"/>
            <ac:spMkLst>
              <pc:docMk/>
              <pc:sldMasterMk cId="30252835" sldId="2147483739"/>
              <pc:sldLayoutMk cId="820824219" sldId="2147483806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903" v="106" actId="790"/>
            <ac:spMkLst>
              <pc:docMk/>
              <pc:sldMasterMk cId="30252835" sldId="2147483739"/>
              <pc:sldLayoutMk cId="820824219" sldId="2147483806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908" v="109" actId="790"/>
            <ac:spMkLst>
              <pc:docMk/>
              <pc:sldMasterMk cId="30252835" sldId="2147483739"/>
              <pc:sldLayoutMk cId="820824219" sldId="2147483806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904" v="107" actId="790"/>
            <ac:spMkLst>
              <pc:docMk/>
              <pc:sldMasterMk cId="30252835" sldId="2147483739"/>
              <pc:sldLayoutMk cId="820824219" sldId="2147483806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910" v="111" actId="790"/>
            <ac:spMkLst>
              <pc:docMk/>
              <pc:sldMasterMk cId="30252835" sldId="2147483739"/>
              <pc:sldLayoutMk cId="820824219" sldId="2147483806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910" v="112" actId="790"/>
            <ac:spMkLst>
              <pc:docMk/>
              <pc:sldMasterMk cId="30252835" sldId="2147483739"/>
              <pc:sldLayoutMk cId="820824219" sldId="2147483806"/>
              <ac:spMk id="17" creationId="{B502059C-0C5A-4EC2-BE56-59ACF10756AA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917" v="120" actId="790"/>
          <pc:sldLayoutMkLst>
            <pc:docMk/>
            <pc:sldMasterMk cId="30252835" sldId="2147483739"/>
            <pc:sldLayoutMk cId="4222588420" sldId="2147483807"/>
          </pc:sldLayoutMkLst>
          <pc:spChg chg="mod">
            <ac:chgData name="Robert Seguin | THEMA" userId="0a78fad8-9c34-4359-b7ce-68185b865dbd" providerId="ADAL" clId="{7DE7B4AC-1CDE-4C07-83D8-45F5853B2EE6}" dt="2022-11-16T08:47:00.915" v="116" actId="790"/>
            <ac:spMkLst>
              <pc:docMk/>
              <pc:sldMasterMk cId="30252835" sldId="2147483739"/>
              <pc:sldLayoutMk cId="4222588420" sldId="2147483807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916" v="118" actId="790"/>
            <ac:spMkLst>
              <pc:docMk/>
              <pc:sldMasterMk cId="30252835" sldId="2147483739"/>
              <pc:sldLayoutMk cId="4222588420" sldId="2147483807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912" v="113" actId="790"/>
            <ac:spMkLst>
              <pc:docMk/>
              <pc:sldMasterMk cId="30252835" sldId="2147483739"/>
              <pc:sldLayoutMk cId="4222588420" sldId="2147483807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912" v="114" actId="790"/>
            <ac:spMkLst>
              <pc:docMk/>
              <pc:sldMasterMk cId="30252835" sldId="2147483739"/>
              <pc:sldLayoutMk cId="4222588420" sldId="2147483807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915" v="117" actId="790"/>
            <ac:spMkLst>
              <pc:docMk/>
              <pc:sldMasterMk cId="30252835" sldId="2147483739"/>
              <pc:sldLayoutMk cId="4222588420" sldId="2147483807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913" v="115" actId="790"/>
            <ac:spMkLst>
              <pc:docMk/>
              <pc:sldMasterMk cId="30252835" sldId="2147483739"/>
              <pc:sldLayoutMk cId="4222588420" sldId="2147483807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917" v="119" actId="790"/>
            <ac:spMkLst>
              <pc:docMk/>
              <pc:sldMasterMk cId="30252835" sldId="2147483739"/>
              <pc:sldLayoutMk cId="4222588420" sldId="2147483807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917" v="120" actId="790"/>
            <ac:spMkLst>
              <pc:docMk/>
              <pc:sldMasterMk cId="30252835" sldId="2147483739"/>
              <pc:sldLayoutMk cId="4222588420" sldId="2147483807"/>
              <ac:spMk id="17" creationId="{B502059C-0C5A-4EC2-BE56-59ACF10756AA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925" v="130" actId="790"/>
          <pc:sldLayoutMkLst>
            <pc:docMk/>
            <pc:sldMasterMk cId="30252835" sldId="2147483739"/>
            <pc:sldLayoutMk cId="434094387" sldId="2147483808"/>
          </pc:sldLayoutMkLst>
          <pc:spChg chg="mod">
            <ac:chgData name="Robert Seguin | THEMA" userId="0a78fad8-9c34-4359-b7ce-68185b865dbd" providerId="ADAL" clId="{7DE7B4AC-1CDE-4C07-83D8-45F5853B2EE6}" dt="2022-11-16T08:47:00.920" v="124" actId="790"/>
            <ac:spMkLst>
              <pc:docMk/>
              <pc:sldMasterMk cId="30252835" sldId="2147483739"/>
              <pc:sldLayoutMk cId="434094387" sldId="2147483808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922" v="126" actId="790"/>
            <ac:spMkLst>
              <pc:docMk/>
              <pc:sldMasterMk cId="30252835" sldId="2147483739"/>
              <pc:sldLayoutMk cId="434094387" sldId="2147483808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919" v="121" actId="790"/>
            <ac:spMkLst>
              <pc:docMk/>
              <pc:sldMasterMk cId="30252835" sldId="2147483739"/>
              <pc:sldLayoutMk cId="434094387" sldId="2147483808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919" v="122" actId="790"/>
            <ac:spMkLst>
              <pc:docMk/>
              <pc:sldMasterMk cId="30252835" sldId="2147483739"/>
              <pc:sldLayoutMk cId="434094387" sldId="2147483808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922" v="125" actId="790"/>
            <ac:spMkLst>
              <pc:docMk/>
              <pc:sldMasterMk cId="30252835" sldId="2147483739"/>
              <pc:sldLayoutMk cId="434094387" sldId="2147483808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920" v="123" actId="790"/>
            <ac:spMkLst>
              <pc:docMk/>
              <pc:sldMasterMk cId="30252835" sldId="2147483739"/>
              <pc:sldLayoutMk cId="434094387" sldId="2147483808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925" v="129" actId="790"/>
            <ac:spMkLst>
              <pc:docMk/>
              <pc:sldMasterMk cId="30252835" sldId="2147483739"/>
              <pc:sldLayoutMk cId="434094387" sldId="2147483808"/>
              <ac:spMk id="15" creationId="{F3BB5D0A-D5BE-47C8-8437-587356BDC929}"/>
            </ac:spMkLst>
          </pc:spChg>
          <pc:spChg chg="mod">
            <ac:chgData name="Robert Seguin | THEMA" userId="0a78fad8-9c34-4359-b7ce-68185b865dbd" providerId="ADAL" clId="{7DE7B4AC-1CDE-4C07-83D8-45F5853B2EE6}" dt="2022-11-16T08:47:00.923" v="127" actId="790"/>
            <ac:spMkLst>
              <pc:docMk/>
              <pc:sldMasterMk cId="30252835" sldId="2147483739"/>
              <pc:sldLayoutMk cId="434094387" sldId="2147483808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923" v="128" actId="790"/>
            <ac:spMkLst>
              <pc:docMk/>
              <pc:sldMasterMk cId="30252835" sldId="2147483739"/>
              <pc:sldLayoutMk cId="434094387" sldId="2147483808"/>
              <ac:spMk id="17" creationId="{B502059C-0C5A-4EC2-BE56-59ACF10756AA}"/>
            </ac:spMkLst>
          </pc:spChg>
          <pc:spChg chg="mod">
            <ac:chgData name="Robert Seguin | THEMA" userId="0a78fad8-9c34-4359-b7ce-68185b865dbd" providerId="ADAL" clId="{7DE7B4AC-1CDE-4C07-83D8-45F5853B2EE6}" dt="2022-11-16T08:47:00.925" v="130" actId="790"/>
            <ac:spMkLst>
              <pc:docMk/>
              <pc:sldMasterMk cId="30252835" sldId="2147483739"/>
              <pc:sldLayoutMk cId="434094387" sldId="2147483808"/>
              <ac:spMk id="20" creationId="{4972AB1D-D344-41BB-A3B4-2D08BC7787F2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934" v="139" actId="790"/>
          <pc:sldLayoutMkLst>
            <pc:docMk/>
            <pc:sldMasterMk cId="30252835" sldId="2147483739"/>
            <pc:sldLayoutMk cId="1671596129" sldId="2147483809"/>
          </pc:sldLayoutMkLst>
          <pc:spChg chg="mod">
            <ac:chgData name="Robert Seguin | THEMA" userId="0a78fad8-9c34-4359-b7ce-68185b865dbd" providerId="ADAL" clId="{7DE7B4AC-1CDE-4C07-83D8-45F5853B2EE6}" dt="2022-11-16T08:47:00.930" v="134" actId="790"/>
            <ac:spMkLst>
              <pc:docMk/>
              <pc:sldMasterMk cId="30252835" sldId="2147483739"/>
              <pc:sldLayoutMk cId="1671596129" sldId="2147483809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931" v="136" actId="790"/>
            <ac:spMkLst>
              <pc:docMk/>
              <pc:sldMasterMk cId="30252835" sldId="2147483739"/>
              <pc:sldLayoutMk cId="1671596129" sldId="2147483809"/>
              <ac:spMk id="9" creationId="{896E0CE2-750F-4AD6-B40D-E80A28CF8FF7}"/>
            </ac:spMkLst>
          </pc:spChg>
          <pc:spChg chg="mod">
            <ac:chgData name="Robert Seguin | THEMA" userId="0a78fad8-9c34-4359-b7ce-68185b865dbd" providerId="ADAL" clId="{7DE7B4AC-1CDE-4C07-83D8-45F5853B2EE6}" dt="2022-11-16T08:47:00.927" v="131" actId="790"/>
            <ac:spMkLst>
              <pc:docMk/>
              <pc:sldMasterMk cId="30252835" sldId="2147483739"/>
              <pc:sldLayoutMk cId="1671596129" sldId="2147483809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927" v="132" actId="790"/>
            <ac:spMkLst>
              <pc:docMk/>
              <pc:sldMasterMk cId="30252835" sldId="2147483739"/>
              <pc:sldLayoutMk cId="1671596129" sldId="2147483809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930" v="135" actId="790"/>
            <ac:spMkLst>
              <pc:docMk/>
              <pc:sldMasterMk cId="30252835" sldId="2147483739"/>
              <pc:sldLayoutMk cId="1671596129" sldId="2147483809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928" v="133" actId="790"/>
            <ac:spMkLst>
              <pc:docMk/>
              <pc:sldMasterMk cId="30252835" sldId="2147483739"/>
              <pc:sldLayoutMk cId="1671596129" sldId="2147483809"/>
              <ac:spMk id="14" creationId="{0444E369-5184-4B04-8D0F-544E8296CC39}"/>
            </ac:spMkLst>
          </pc:spChg>
          <pc:spChg chg="mod">
            <ac:chgData name="Robert Seguin | THEMA" userId="0a78fad8-9c34-4359-b7ce-68185b865dbd" providerId="ADAL" clId="{7DE7B4AC-1CDE-4C07-83D8-45F5853B2EE6}" dt="2022-11-16T08:47:00.933" v="137" actId="790"/>
            <ac:spMkLst>
              <pc:docMk/>
              <pc:sldMasterMk cId="30252835" sldId="2147483739"/>
              <pc:sldLayoutMk cId="1671596129" sldId="2147483809"/>
              <ac:spMk id="16" creationId="{B5ED7DB8-3BB1-4934-A9D2-5AA952F38BD1}"/>
            </ac:spMkLst>
          </pc:spChg>
          <pc:spChg chg="mod">
            <ac:chgData name="Robert Seguin | THEMA" userId="0a78fad8-9c34-4359-b7ce-68185b865dbd" providerId="ADAL" clId="{7DE7B4AC-1CDE-4C07-83D8-45F5853B2EE6}" dt="2022-11-16T08:47:00.933" v="138" actId="790"/>
            <ac:spMkLst>
              <pc:docMk/>
              <pc:sldMasterMk cId="30252835" sldId="2147483739"/>
              <pc:sldLayoutMk cId="1671596129" sldId="2147483809"/>
              <ac:spMk id="17" creationId="{B502059C-0C5A-4EC2-BE56-59ACF10756AA}"/>
            </ac:spMkLst>
          </pc:spChg>
          <pc:spChg chg="mod">
            <ac:chgData name="Robert Seguin | THEMA" userId="0a78fad8-9c34-4359-b7ce-68185b865dbd" providerId="ADAL" clId="{7DE7B4AC-1CDE-4C07-83D8-45F5853B2EE6}" dt="2022-11-16T08:47:00.934" v="139" actId="790"/>
            <ac:spMkLst>
              <pc:docMk/>
              <pc:sldMasterMk cId="30252835" sldId="2147483739"/>
              <pc:sldLayoutMk cId="1671596129" sldId="2147483809"/>
              <ac:spMk id="18" creationId="{64906A9F-0988-4094-820D-FD1BD0A5EBD7}"/>
            </ac:spMkLst>
          </pc:spChg>
        </pc:sldLayoutChg>
        <pc:sldLayoutChg chg="modSp mod">
          <pc:chgData name="Robert Seguin | THEMA" userId="0a78fad8-9c34-4359-b7ce-68185b865dbd" providerId="ADAL" clId="{7DE7B4AC-1CDE-4C07-83D8-45F5853B2EE6}" dt="2022-11-16T08:47:00.939" v="145" actId="790"/>
          <pc:sldLayoutMkLst>
            <pc:docMk/>
            <pc:sldMasterMk cId="30252835" sldId="2147483739"/>
            <pc:sldLayoutMk cId="1636407619" sldId="2147483810"/>
          </pc:sldLayoutMkLst>
          <pc:spChg chg="mod">
            <ac:chgData name="Robert Seguin | THEMA" userId="0a78fad8-9c34-4359-b7ce-68185b865dbd" providerId="ADAL" clId="{7DE7B4AC-1CDE-4C07-83D8-45F5853B2EE6}" dt="2022-11-16T08:47:00.939" v="145" actId="790"/>
            <ac:spMkLst>
              <pc:docMk/>
              <pc:sldMasterMk cId="30252835" sldId="2147483739"/>
              <pc:sldLayoutMk cId="1636407619" sldId="2147483810"/>
              <ac:spMk id="7" creationId="{66B1C527-70A1-454C-BB59-2766D04110EB}"/>
            </ac:spMkLst>
          </pc:spChg>
          <pc:spChg chg="mod">
            <ac:chgData name="Robert Seguin | THEMA" userId="0a78fad8-9c34-4359-b7ce-68185b865dbd" providerId="ADAL" clId="{7DE7B4AC-1CDE-4C07-83D8-45F5853B2EE6}" dt="2022-11-16T08:47:00.936" v="143" actId="790"/>
            <ac:spMkLst>
              <pc:docMk/>
              <pc:sldMasterMk cId="30252835" sldId="2147483739"/>
              <pc:sldLayoutMk cId="1636407619" sldId="2147483810"/>
              <ac:spMk id="8" creationId="{FA211E5E-260B-476F-9A96-0B78ADD30D4B}"/>
            </ac:spMkLst>
          </pc:spChg>
          <pc:spChg chg="mod">
            <ac:chgData name="Robert Seguin | THEMA" userId="0a78fad8-9c34-4359-b7ce-68185b865dbd" providerId="ADAL" clId="{7DE7B4AC-1CDE-4C07-83D8-45F5853B2EE6}" dt="2022-11-16T08:47:00.935" v="140" actId="790"/>
            <ac:spMkLst>
              <pc:docMk/>
              <pc:sldMasterMk cId="30252835" sldId="2147483739"/>
              <pc:sldLayoutMk cId="1636407619" sldId="2147483810"/>
              <ac:spMk id="10" creationId="{DEEFAE0F-0EA9-44C1-B512-F79313C1C36D}"/>
            </ac:spMkLst>
          </pc:spChg>
          <pc:spChg chg="mod">
            <ac:chgData name="Robert Seguin | THEMA" userId="0a78fad8-9c34-4359-b7ce-68185b865dbd" providerId="ADAL" clId="{7DE7B4AC-1CDE-4C07-83D8-45F5853B2EE6}" dt="2022-11-16T08:47:00.935" v="141" actId="790"/>
            <ac:spMkLst>
              <pc:docMk/>
              <pc:sldMasterMk cId="30252835" sldId="2147483739"/>
              <pc:sldLayoutMk cId="1636407619" sldId="2147483810"/>
              <ac:spMk id="11" creationId="{837D25D7-F361-492E-96F1-A90303621001}"/>
            </ac:spMkLst>
          </pc:spChg>
          <pc:spChg chg="mod">
            <ac:chgData name="Robert Seguin | THEMA" userId="0a78fad8-9c34-4359-b7ce-68185b865dbd" providerId="ADAL" clId="{7DE7B4AC-1CDE-4C07-83D8-45F5853B2EE6}" dt="2022-11-16T08:47:00.938" v="144" actId="790"/>
            <ac:spMkLst>
              <pc:docMk/>
              <pc:sldMasterMk cId="30252835" sldId="2147483739"/>
              <pc:sldLayoutMk cId="1636407619" sldId="2147483810"/>
              <ac:spMk id="12" creationId="{EDE06950-9A2F-4E2E-B6AC-B5ECA496F4E5}"/>
            </ac:spMkLst>
          </pc:spChg>
          <pc:spChg chg="mod">
            <ac:chgData name="Robert Seguin | THEMA" userId="0a78fad8-9c34-4359-b7ce-68185b865dbd" providerId="ADAL" clId="{7DE7B4AC-1CDE-4C07-83D8-45F5853B2EE6}" dt="2022-11-16T08:47:00.936" v="142" actId="790"/>
            <ac:spMkLst>
              <pc:docMk/>
              <pc:sldMasterMk cId="30252835" sldId="2147483739"/>
              <pc:sldLayoutMk cId="1636407619" sldId="2147483810"/>
              <ac:spMk id="14" creationId="{0444E369-5184-4B04-8D0F-544E8296CC39}"/>
            </ac:spMkLst>
          </pc:spChg>
        </pc:sldLayoutChg>
        <pc:sldLayoutChg chg="del">
          <pc:chgData name="Robert Seguin | THEMA" userId="0a78fad8-9c34-4359-b7ce-68185b865dbd" providerId="ADAL" clId="{7DE7B4AC-1CDE-4C07-83D8-45F5853B2EE6}" dt="2022-11-11T12:52:10.253" v="0" actId="47"/>
          <pc:sldLayoutMkLst>
            <pc:docMk/>
            <pc:sldMasterMk cId="30252835" sldId="2147483739"/>
            <pc:sldLayoutMk cId="4214770325" sldId="2147483811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BCC3B3FC-5000-4A1A-97FF-A6A55A21416E}" type="datetimeFigureOut">
              <a:rPr lang="en-US" smtClean="0"/>
              <a:pPr/>
              <a:t>11/16/2022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47705F21-B78F-4788-9E1E-9D9476A5F0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04815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/>
          <a:lstStyle>
            <a:lvl1pPr algn="r">
              <a:defRPr sz="1200"/>
            </a:lvl1pPr>
          </a:lstStyle>
          <a:p>
            <a:fld id="{76EB2179-D76A-402D-9CA4-629E9A8A5B62}" type="datetimeFigureOut">
              <a:rPr lang="en-US" smtClean="0"/>
              <a:pPr/>
              <a:t>11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9375" y="739775"/>
            <a:ext cx="65770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63" tIns="45382" rIns="90763" bIns="4538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0763" tIns="45382" rIns="90763" bIns="4538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3316"/>
          </a:xfrm>
          <a:prstGeom prst="rect">
            <a:avLst/>
          </a:prstGeom>
        </p:spPr>
        <p:txBody>
          <a:bodyPr vert="horz" lIns="90763" tIns="45382" rIns="90763" bIns="45382" rtlCol="0" anchor="b"/>
          <a:lstStyle>
            <a:lvl1pPr algn="r">
              <a:defRPr sz="1200"/>
            </a:lvl1pPr>
          </a:lstStyle>
          <a:p>
            <a:fld id="{6C424584-900E-4414-A98B-BE3F1BFDED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70788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1pPr>
    <a:lvl2pPr marL="623815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2pPr>
    <a:lvl3pPr marL="1247630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3pPr>
    <a:lvl4pPr marL="1871445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4pPr>
    <a:lvl5pPr marL="2495260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5pPr>
    <a:lvl6pPr marL="3119075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6pPr>
    <a:lvl7pPr marL="3742890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7pPr>
    <a:lvl8pPr marL="4366705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8pPr>
    <a:lvl9pPr marL="4990520" algn="l" defTabSz="1247630" rtl="0" eaLnBrk="1" latinLnBrk="0" hangingPunct="1">
      <a:defRPr sz="160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>
            <a:extLst>
              <a:ext uri="{FF2B5EF4-FFF2-40B4-BE49-F238E27FC236}">
                <a16:creationId xmlns:a16="http://schemas.microsoft.com/office/drawing/2014/main" id="{6B15A993-1AE4-4AF9-B208-BD1ABD7852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9052" r="10066" b="30874"/>
          <a:stretch/>
        </p:blipFill>
        <p:spPr>
          <a:xfrm>
            <a:off x="9076489" y="0"/>
            <a:ext cx="3115511" cy="981000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981000"/>
            <a:ext cx="12191999" cy="5877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none"/>
        </p:style>
        <p:txBody>
          <a:bodyPr/>
          <a:lstStyle>
            <a:lvl1pPr marL="0" indent="0">
              <a:buNone/>
              <a:defRPr sz="1400"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the picture icon </a:t>
            </a:r>
            <a:r>
              <a:rPr lang="en-US" noProof="0" dirty="0" err="1"/>
              <a:t>centred</a:t>
            </a:r>
            <a:r>
              <a:rPr lang="en-US" noProof="0" dirty="0"/>
              <a:t> below and select a picture from:</a:t>
            </a:r>
            <a:br>
              <a:rPr lang="en-US" noProof="0" dirty="0"/>
            </a:br>
            <a:r>
              <a:rPr lang="en-US" noProof="0" dirty="0"/>
              <a:t>G:\1 THEMA formats\2 Pictures\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Or try one of these sources for royalty free pictures: https://unsplash.com/, https://pixabay.com/, https://www.pexels.com</a:t>
            </a: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You can also copy a picture, select the figure and paste the picture directly (but be aware of the quality)</a:t>
            </a:r>
            <a:br>
              <a:rPr lang="en-US" noProof="0" dirty="0"/>
            </a:br>
            <a:r>
              <a:rPr lang="en-US" noProof="0" dirty="0"/>
              <a:t>If necessary, by selecting the image and then Format -&gt; Crop, you can alter the portion of the image shown.</a:t>
            </a:r>
            <a:br>
              <a:rPr lang="en-US" noProof="0" dirty="0"/>
            </a:br>
            <a:r>
              <a:rPr lang="en-US" noProof="0" dirty="0"/>
              <a:t>You can also select the image and then use Format -&gt; Send to Back to help the text stand out.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5B43FB77-D2A6-40A8-B5D3-AAB373BBDD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-135609" y="3897312"/>
            <a:ext cx="10840121" cy="2484437"/>
          </a:xfrm>
          <a:prstGeom prst="roundRect">
            <a:avLst>
              <a:gd name="adj" fmla="val 3826"/>
            </a:avLst>
          </a:prstGeom>
          <a:solidFill>
            <a:schemeClr val="accent4">
              <a:alpha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17" tIns="60958" rIns="121917" bIns="60958" numCol="1" rtlCol="0" anchor="t" anchorCtr="0" compatLnSpc="1">
            <a:prstTxWarp prst="textNoShape">
              <a:avLst/>
            </a:prstTxWarp>
          </a:bodyPr>
          <a:lstStyle>
            <a:lvl1pPr>
              <a:defRPr lang="en-US" sz="1800" dirty="0" smtClean="0"/>
            </a:lvl1pPr>
            <a:lvl2pPr>
              <a:defRPr lang="en-US" sz="1800" dirty="0" smtClean="0"/>
            </a:lvl2pPr>
            <a:lvl3pPr>
              <a:defRPr lang="en-US" dirty="0" smtClean="0"/>
            </a:lvl3pPr>
            <a:lvl4pPr>
              <a:defRPr lang="en-US" sz="1800" dirty="0" smtClean="0"/>
            </a:lvl4pPr>
            <a:lvl5pPr>
              <a:defRPr lang="en-GB" sz="1800" dirty="0"/>
            </a:lvl5pPr>
          </a:lstStyle>
          <a:p>
            <a:pPr lvl="0" defTabSz="1219139"/>
            <a:r>
              <a:rPr lang="en-US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15937" y="4476842"/>
            <a:ext cx="10186496" cy="952600"/>
          </a:xfrm>
          <a:prstGeom prst="rect">
            <a:avLst/>
          </a:prstGeom>
        </p:spPr>
        <p:txBody>
          <a:bodyPr wrap="square" lIns="122577" tIns="63740" rIns="122577" bIns="63740" anchor="t">
            <a:noAutofit/>
          </a:bodyPr>
          <a:lstStyle>
            <a:lvl1pPr algn="l">
              <a:defRPr sz="3306" b="1" cap="none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ation title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15937" y="3923872"/>
            <a:ext cx="10186496" cy="475679"/>
          </a:xfrm>
          <a:prstGeom prst="rect">
            <a:avLst/>
          </a:prstGeom>
        </p:spPr>
        <p:txBody>
          <a:bodyPr wrap="square" lIns="122577" tIns="63740" rIns="122577" bIns="63740" anchor="b">
            <a:noAutofit/>
          </a:bodyPr>
          <a:lstStyle>
            <a:lvl1pPr marL="0" indent="0">
              <a:buNone/>
              <a:defRPr sz="2505" baseline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623815" indent="0">
              <a:buNone/>
              <a:defRPr sz="2505"/>
            </a:lvl2pPr>
            <a:lvl3pPr marL="1247630" indent="0">
              <a:buNone/>
              <a:defRPr sz="2204"/>
            </a:lvl3pPr>
            <a:lvl4pPr marL="1871445" indent="0">
              <a:buNone/>
              <a:defRPr sz="1903"/>
            </a:lvl4pPr>
            <a:lvl5pPr marL="2495260" indent="0">
              <a:buNone/>
              <a:defRPr sz="1903"/>
            </a:lvl5pPr>
            <a:lvl6pPr marL="3119075" indent="0">
              <a:buNone/>
              <a:defRPr sz="1903"/>
            </a:lvl6pPr>
            <a:lvl7pPr marL="3742890" indent="0">
              <a:buNone/>
              <a:defRPr sz="1903"/>
            </a:lvl7pPr>
            <a:lvl8pPr marL="4366705" indent="0">
              <a:buNone/>
              <a:defRPr sz="1903"/>
            </a:lvl8pPr>
            <a:lvl9pPr marL="4990520" indent="0">
              <a:buNone/>
              <a:defRPr sz="1903"/>
            </a:lvl9pPr>
          </a:lstStyle>
          <a:p>
            <a:pPr lvl="0"/>
            <a:r>
              <a:rPr lang="en-US" noProof="0" dirty="0"/>
              <a:t>Context (optional):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15936" y="5429442"/>
            <a:ext cx="10186495" cy="951886"/>
          </a:xfrm>
          <a:prstGeom prst="rect">
            <a:avLst/>
          </a:prstGeom>
        </p:spPr>
        <p:txBody>
          <a:bodyPr wrap="square" lIns="122577" tIns="63740" rIns="122577" bIns="63740">
            <a:noAutofit/>
          </a:bodyPr>
          <a:lstStyle>
            <a:lvl1pPr marL="0" indent="0">
              <a:buNone/>
              <a:defRPr sz="2505" i="1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dirty="0"/>
              <a:t>Name, Title, THEMA Consulting Group</a:t>
            </a:r>
          </a:p>
          <a:p>
            <a:pPr lvl="0"/>
            <a:r>
              <a:rPr lang="en-US" noProof="0" dirty="0"/>
              <a:t>Place and date (optional)</a:t>
            </a:r>
          </a:p>
        </p:txBody>
      </p:sp>
    </p:spTree>
    <p:extLst>
      <p:ext uri="{BB962C8B-B14F-4D97-AF65-F5344CB8AC3E}">
        <p14:creationId xmlns:p14="http://schemas.microsoft.com/office/powerpoint/2010/main" val="814147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55" userDrawn="1">
          <p15:clr>
            <a:srgbClr val="FBAE40"/>
          </p15:clr>
        </p15:guide>
        <p15:guide id="2" pos="6743" userDrawn="1">
          <p15:clr>
            <a:srgbClr val="FBAE40"/>
          </p15:clr>
        </p15:guide>
        <p15:guide id="3" pos="32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66990" y="1484313"/>
            <a:ext cx="9290046" cy="1331551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2"/>
            <a:ext cx="2089149" cy="1331913"/>
          </a:xfr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1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66990" y="3181072"/>
            <a:ext cx="9290048" cy="132742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3181072"/>
            <a:ext cx="2089146" cy="1327428"/>
          </a:xfr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664ED1-D0B6-4C9D-857B-E76C9E55ED54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424110" y="1484312"/>
            <a:ext cx="0" cy="1331913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C9FDFC5-4E18-4B41-9838-07F3F65BCCD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424110" y="3165619"/>
            <a:ext cx="3" cy="1342881"/>
          </a:xfrm>
          <a:prstGeom prst="line">
            <a:avLst/>
          </a:prstGeom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3BB5D0A-D5BE-47C8-8437-587356BDC92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566989" y="4868863"/>
            <a:ext cx="9290049" cy="132742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US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972AB1D-D344-41BB-A3B4-2D08BC7787F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4953" y="4868863"/>
            <a:ext cx="2089160" cy="1327429"/>
          </a:xfr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Heading 3</a:t>
            </a:r>
            <a:endParaRPr lang="en-US" noProof="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430FA76-CAF7-41B5-A1BC-79FC66440118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424110" y="4868863"/>
            <a:ext cx="3" cy="1342881"/>
          </a:xfrm>
          <a:prstGeom prst="line">
            <a:avLst/>
          </a:prstGeom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409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67" userDrawn="1">
          <p15:clr>
            <a:srgbClr val="FBAE40"/>
          </p15:clr>
        </p15:guide>
        <p15:guide id="2" orient="horz" pos="2840" userDrawn="1">
          <p15:clr>
            <a:srgbClr val="FBAE40"/>
          </p15:clr>
        </p15:guide>
        <p15:guide id="3" pos="1527" userDrawn="1">
          <p15:clr>
            <a:srgbClr val="FBAE40"/>
          </p15:clr>
        </p15:guide>
        <p15:guide id="4" pos="1617" userDrawn="1">
          <p15:clr>
            <a:srgbClr val="FBAE40"/>
          </p15:clr>
        </p15:guide>
        <p15:guide id="5" orient="horz" pos="1774" userDrawn="1">
          <p15:clr>
            <a:srgbClr val="FBAE40"/>
          </p15:clr>
        </p15:guide>
        <p15:guide id="6" orient="horz" pos="200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vers -&gt; Consequ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2061287"/>
            <a:ext cx="5581650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3"/>
            <a:ext cx="5581650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&lt;drivers&gt;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386" y="2061287"/>
            <a:ext cx="5581650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75386" y="1484312"/>
            <a:ext cx="5581652" cy="431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&lt;consequences&gt;</a:t>
            </a:r>
          </a:p>
        </p:txBody>
      </p:sp>
      <p:sp>
        <p:nvSpPr>
          <p:cNvPr id="18" name="Isosceles Triangle 17">
            <a:extLst>
              <a:ext uri="{FF2B5EF4-FFF2-40B4-BE49-F238E27FC236}">
                <a16:creationId xmlns:a16="http://schemas.microsoft.com/office/drawing/2014/main" id="{64906A9F-0988-4094-820D-FD1BD0A5EBD7}"/>
              </a:ext>
            </a:extLst>
          </p:cNvPr>
          <p:cNvSpPr/>
          <p:nvPr userDrawn="1"/>
        </p:nvSpPr>
        <p:spPr>
          <a:xfrm rot="5400000">
            <a:off x="5091579" y="4038575"/>
            <a:ext cx="2008842" cy="184201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txBody>
          <a:bodyPr vert="horz" lIns="91440" tIns="45720" rIns="91440" bIns="45720" rtlCol="0">
            <a:noAutofit/>
          </a:bodyPr>
          <a:lstStyle/>
          <a:p>
            <a:pPr lvl="0" indent="0" defTabSz="180000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</a:pPr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596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 userDrawn="1">
          <p15:clr>
            <a:srgbClr val="FBAE40"/>
          </p15:clr>
        </p15:guide>
        <p15:guide id="2" orient="horz" pos="1207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pos="3953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llustration -&gt;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5589589"/>
            <a:ext cx="11522075" cy="611186"/>
          </a:xfrm>
          <a:solidFill>
            <a:schemeClr val="tx2"/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GB" sz="1600" dirty="0">
                <a:solidFill>
                  <a:schemeClr val="bg1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&lt;Key conclusion&gt;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Content Placeholder 11">
            <a:extLst>
              <a:ext uri="{FF2B5EF4-FFF2-40B4-BE49-F238E27FC236}">
                <a16:creationId xmlns:a16="http://schemas.microsoft.com/office/drawing/2014/main" id="{66B1C527-70A1-454C-BB59-2766D04110E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34963" y="1484313"/>
            <a:ext cx="11521898" cy="3960812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>
              <a:defRPr lang="en-US" sz="1400" noProof="0" dirty="0"/>
            </a:lvl1pPr>
            <a:lvl2pPr>
              <a:defRPr lang="en-US" sz="1400" noProof="0" dirty="0"/>
            </a:lvl2pPr>
            <a:lvl3pPr>
              <a:defRPr lang="en-US" sz="1400" noProof="0" dirty="0"/>
            </a:lvl3pPr>
            <a:lvl4pPr>
              <a:defRPr lang="en-US" sz="1400" noProof="0" dirty="0"/>
            </a:lvl4pPr>
            <a:lvl5pPr>
              <a:defRPr lang="en-US" sz="1400" noProof="0" dirty="0"/>
            </a:lvl5pPr>
          </a:lstStyle>
          <a:p>
            <a:pPr lvl="0"/>
            <a:r>
              <a:rPr lang="en-US" noProof="0" dirty="0"/>
              <a:t>Illustration in graphs / tables / figur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640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 userDrawn="1">
          <p15:clr>
            <a:srgbClr val="FBAE40"/>
          </p15:clr>
        </p15:guide>
        <p15:guide id="2" orient="horz" pos="343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9655FA4-FEB6-4BC5-B09A-8611C6498F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1064" y="2401822"/>
            <a:ext cx="7229871" cy="2054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444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1AD60567-7B76-4939-8DE9-B1D6A37F97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7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B77A622-0DD2-4EE2-A43F-D3E8339B01D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1" y="358"/>
            <a:ext cx="6096000" cy="3428642"/>
          </a:xfrm>
          <a:custGeom>
            <a:avLst/>
            <a:gdLst>
              <a:gd name="connsiteX0" fmla="*/ 25165 w 6096000"/>
              <a:gd name="connsiteY0" fmla="*/ 0 h 3428642"/>
              <a:gd name="connsiteX1" fmla="*/ 6096000 w 6096000"/>
              <a:gd name="connsiteY1" fmla="*/ 0 h 3428642"/>
              <a:gd name="connsiteX2" fmla="*/ 6096000 w 6096000"/>
              <a:gd name="connsiteY2" fmla="*/ 3428642 h 3428642"/>
              <a:gd name="connsiteX3" fmla="*/ 0 w 6096000"/>
              <a:gd name="connsiteY3" fmla="*/ 3428642 h 3428642"/>
              <a:gd name="connsiteX4" fmla="*/ 0 w 6096000"/>
              <a:gd name="connsiteY4" fmla="*/ 3428463 h 3428642"/>
              <a:gd name="connsiteX5" fmla="*/ 6095999 w 6096000"/>
              <a:gd name="connsiteY5" fmla="*/ 3428463 h 3428642"/>
              <a:gd name="connsiteX6" fmla="*/ 313698 w 6096000"/>
              <a:gd name="connsiteY6" fmla="*/ 4104 h 342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3428642">
                <a:moveTo>
                  <a:pt x="25165" y="0"/>
                </a:moveTo>
                <a:lnTo>
                  <a:pt x="6096000" y="0"/>
                </a:lnTo>
                <a:lnTo>
                  <a:pt x="6096000" y="3428642"/>
                </a:lnTo>
                <a:lnTo>
                  <a:pt x="0" y="3428642"/>
                </a:lnTo>
                <a:lnTo>
                  <a:pt x="0" y="3428463"/>
                </a:lnTo>
                <a:lnTo>
                  <a:pt x="6095999" y="3428463"/>
                </a:lnTo>
                <a:cubicBezTo>
                  <a:pt x="6095999" y="1593955"/>
                  <a:pt x="3534640" y="95938"/>
                  <a:pt x="313698" y="410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none"/>
        </p:style>
        <p:txBody>
          <a:bodyPr wrap="square">
            <a:noAutofit/>
          </a:bodyPr>
          <a:lstStyle>
            <a:lvl1pPr marL="0" indent="0" algn="l">
              <a:buNone/>
              <a:defRPr b="0" i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on the picture icon </a:t>
            </a:r>
            <a:r>
              <a:rPr lang="en-US" noProof="0" dirty="0" err="1"/>
              <a:t>centred</a:t>
            </a:r>
            <a:r>
              <a:rPr lang="en-US" noProof="0" dirty="0"/>
              <a:t> below and select a picture from:</a:t>
            </a:r>
            <a:br>
              <a:rPr lang="en-US" noProof="0" dirty="0"/>
            </a:br>
            <a:r>
              <a:rPr lang="en-US" noProof="0" dirty="0"/>
              <a:t>G:\1 THEMA formats\2 Pictures\</a:t>
            </a:r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3E74AD1A-8083-409F-99DE-4C582897D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4962" y="476250"/>
            <a:ext cx="4932000" cy="755999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&lt;agenda&gt;</a:t>
            </a:r>
          </a:p>
        </p:txBody>
      </p:sp>
    </p:spTree>
    <p:extLst>
      <p:ext uri="{BB962C8B-B14F-4D97-AF65-F5344CB8AC3E}">
        <p14:creationId xmlns:p14="http://schemas.microsoft.com/office/powerpoint/2010/main" val="21615878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E769351F-877B-4AA2-A540-2E709CD52F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50"/>
            <a:ext cx="8886325" cy="215998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2D8470A-9DA9-482D-B35A-A5AB8DA3F2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B98E1304-CBF6-4CB7-ABC4-E54C88677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942191A7-2AE5-47F9-B17D-7B65E454FC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</p:spTree>
    <p:extLst>
      <p:ext uri="{BB962C8B-B14F-4D97-AF65-F5344CB8AC3E}">
        <p14:creationId xmlns:p14="http://schemas.microsoft.com/office/powerpoint/2010/main" val="4053884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3" y="1484313"/>
            <a:ext cx="11522075" cy="4716462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401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2061287"/>
            <a:ext cx="5581650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3"/>
            <a:ext cx="5581650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1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7684F76-1EA2-475F-B307-8CA4F3F7E4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3012" y="1916112"/>
            <a:ext cx="5583601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0B676E7-AB2F-4FB3-B75A-2DABECEB287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6282749" y="1916112"/>
            <a:ext cx="5581650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5386" y="2061287"/>
            <a:ext cx="5581650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82748" y="1484312"/>
            <a:ext cx="5574288" cy="431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2</a:t>
            </a:r>
          </a:p>
        </p:txBody>
      </p:sp>
    </p:spTree>
    <p:extLst>
      <p:ext uri="{BB962C8B-B14F-4D97-AF65-F5344CB8AC3E}">
        <p14:creationId xmlns:p14="http://schemas.microsoft.com/office/powerpoint/2010/main" val="815200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 userDrawn="1">
          <p15:clr>
            <a:srgbClr val="FBAE40"/>
          </p15:clr>
        </p15:guide>
        <p15:guide id="2" orient="horz" pos="1207" userDrawn="1">
          <p15:clr>
            <a:srgbClr val="FBAE40"/>
          </p15:clr>
        </p15:guide>
        <p15:guide id="3" pos="3727" userDrawn="1">
          <p15:clr>
            <a:srgbClr val="FBAE40"/>
          </p15:clr>
        </p15:guide>
        <p15:guide id="4" pos="3953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2061287"/>
            <a:ext cx="3600449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3"/>
            <a:ext cx="3600449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1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7684F76-1EA2-475F-B307-8CA4F3F7E4DF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333012" y="1916111"/>
            <a:ext cx="3602401" cy="1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0B676E7-AB2F-4FB3-B75A-2DABECEB287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295775" y="1916112"/>
            <a:ext cx="3600450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95775" y="2061287"/>
            <a:ext cx="3600449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5" y="1484313"/>
            <a:ext cx="3603062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2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0751342-EA3C-4F4E-8AF3-8F7212D50B2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56589" y="2061287"/>
            <a:ext cx="3600449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5B0E475-5034-40D1-BF3A-7813C78D9F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6589" y="1484313"/>
            <a:ext cx="3600449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Heading 3</a:t>
            </a:r>
            <a:endParaRPr lang="en-US" noProof="0" dirty="0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61536DD-2111-4C7D-B53C-C0A0D319FC93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256587" y="1916112"/>
            <a:ext cx="3600450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3448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 userDrawn="1">
          <p15:clr>
            <a:srgbClr val="FBAE40"/>
          </p15:clr>
        </p15:guide>
        <p15:guide id="2" orient="horz" pos="1207" userDrawn="1">
          <p15:clr>
            <a:srgbClr val="FBAE40"/>
          </p15:clr>
        </p15:guide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  <p15:guide id="5" pos="4974" userDrawn="1">
          <p15:clr>
            <a:srgbClr val="FBAE40"/>
          </p15:clr>
        </p15:guide>
        <p15:guide id="6" pos="520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-shor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2061287"/>
            <a:ext cx="7561261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3"/>
            <a:ext cx="7561261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1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7684F76-1EA2-475F-B307-8CA4F3F7E4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3012" y="1916112"/>
            <a:ext cx="7563213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0B676E7-AB2F-4FB3-B75A-2DABECEB287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8256588" y="1916112"/>
            <a:ext cx="3607811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56588" y="2061287"/>
            <a:ext cx="3600448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1336" y="1484312"/>
            <a:ext cx="3595699" cy="431799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2</a:t>
            </a:r>
          </a:p>
        </p:txBody>
      </p:sp>
    </p:spTree>
    <p:extLst>
      <p:ext uri="{BB962C8B-B14F-4D97-AF65-F5344CB8AC3E}">
        <p14:creationId xmlns:p14="http://schemas.microsoft.com/office/powerpoint/2010/main" val="32386259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 userDrawn="1">
          <p15:clr>
            <a:srgbClr val="FBAE40"/>
          </p15:clr>
        </p15:guide>
        <p15:guide id="2" orient="horz" pos="1207" userDrawn="1">
          <p15:clr>
            <a:srgbClr val="FBAE40"/>
          </p15:clr>
        </p15:guide>
        <p15:guide id="3" pos="4974" userDrawn="1">
          <p15:clr>
            <a:srgbClr val="FBAE40"/>
          </p15:clr>
        </p15:guide>
        <p15:guide id="4" pos="520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-long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4964" y="2061287"/>
            <a:ext cx="3600449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3"/>
            <a:ext cx="3600449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1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7684F76-1EA2-475F-B307-8CA4F3F7E4DF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333012" y="1916112"/>
            <a:ext cx="3602401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40B676E7-AB2F-4FB3-B75A-2DABECEB2874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4295775" y="1916112"/>
            <a:ext cx="7568624" cy="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5789" y="2061287"/>
            <a:ext cx="7571247" cy="4139488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295775" y="1484313"/>
            <a:ext cx="7561261" cy="431800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2</a:t>
            </a:r>
          </a:p>
        </p:txBody>
      </p:sp>
    </p:spTree>
    <p:extLst>
      <p:ext uri="{BB962C8B-B14F-4D97-AF65-F5344CB8AC3E}">
        <p14:creationId xmlns:p14="http://schemas.microsoft.com/office/powerpoint/2010/main" val="820824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98" userDrawn="1">
          <p15:clr>
            <a:srgbClr val="FBAE40"/>
          </p15:clr>
        </p15:guide>
        <p15:guide id="2" orient="horz" pos="1207" userDrawn="1">
          <p15:clr>
            <a:srgbClr val="FBAE40"/>
          </p15:clr>
        </p15:guide>
        <p15:guide id="3" pos="2479" userDrawn="1">
          <p15:clr>
            <a:srgbClr val="FBAE40"/>
          </p15:clr>
        </p15:guide>
        <p15:guide id="4" pos="2706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DEEFAE0F-0EA9-44C1-B512-F79313C1C36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9610" y="6381748"/>
            <a:ext cx="8886325" cy="216000"/>
          </a:xfrm>
        </p:spPr>
        <p:txBody>
          <a:bodyPr/>
          <a:lstStyle>
            <a:lvl1pPr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&lt;Source: Write source references like this: Institution (year), title; Institution (year), title. USE hyperlinks where possible&gt;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37D25D7-F361-492E-96F1-A903036210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963" y="0"/>
            <a:ext cx="3272727" cy="245003"/>
          </a:xfrm>
        </p:spPr>
        <p:txBody>
          <a:bodyPr wrap="none">
            <a:noAutofit/>
          </a:bodyPr>
          <a:lstStyle>
            <a:lvl1pPr marL="0" indent="0">
              <a:buNone/>
              <a:defRPr sz="1102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 dirty="0"/>
              <a:t>&lt;ADD TRACKER TEXT&gt;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0444E369-5184-4B04-8D0F-544E8296CC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038" y="6381750"/>
            <a:ext cx="432000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6BA06D-219D-4DB1-961A-7AFCA7FAE0C4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A211E5E-260B-476F-9A96-0B78ADD30D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566990" y="1484313"/>
            <a:ext cx="9290046" cy="2159999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2" name="Title 3">
            <a:extLst>
              <a:ext uri="{FF2B5EF4-FFF2-40B4-BE49-F238E27FC236}">
                <a16:creationId xmlns:a16="http://schemas.microsoft.com/office/drawing/2014/main" id="{EDE06950-9A2F-4E2E-B6AC-B5ECA496F4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11522076" cy="755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6E0CE2-750F-4AD6-B40D-E80A28CF8FF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4964" y="1484312"/>
            <a:ext cx="2089149" cy="2160587"/>
          </a:xfr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1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5ED7DB8-3BB1-4934-A9D2-5AA952F38BD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566990" y="4041775"/>
            <a:ext cx="9290048" cy="2159000"/>
          </a:xfrm>
        </p:spPr>
        <p:txBody>
          <a:bodyPr vert="horz" lIns="91440" tIns="45720" rIns="91440" bIns="45720" rtlCol="0">
            <a:noAutofit/>
          </a:bodyPr>
          <a:lstStyle>
            <a:lvl1pPr>
              <a:defRPr lang="en-GB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dirty="0"/>
              <a:t>Click to enter text – Hotkeys to move bullet within textbox: </a:t>
            </a:r>
            <a:br>
              <a:rPr lang="en-US" dirty="0"/>
            </a:br>
            <a:r>
              <a:rPr lang="en-US" dirty="0"/>
              <a:t>ALT + SHIFT + ARROW RIGHT/LEFT/UP/DOWN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US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502059C-0C5A-4EC2-BE56-59ACF10756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4964" y="4041775"/>
            <a:ext cx="2089146" cy="2159000"/>
          </a:xfrm>
        </p:spPr>
        <p:txBody>
          <a:bodyPr vert="horz" lIns="91440" tIns="45720" rIns="91440" bIns="45720" rtlCol="0" anchor="ctr">
            <a:noAutofit/>
          </a:bodyPr>
          <a:lstStyle>
            <a:lvl1pPr algn="ctr">
              <a:defRPr lang="en-GB" sz="1600" b="1" dirty="0">
                <a:solidFill>
                  <a:schemeClr val="tx2"/>
                </a:solidFill>
              </a:defRPr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noProof="0" dirty="0"/>
            </a:lvl5pPr>
          </a:lstStyle>
          <a:p>
            <a:pPr lvl="0"/>
            <a:r>
              <a:rPr lang="en-US" noProof="0" dirty="0"/>
              <a:t>Heading 2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2664ED1-D0B6-4C9D-857B-E76C9E55ED54}"/>
              </a:ext>
            </a:extLst>
          </p:cNvPr>
          <p:cNvCxnSpPr>
            <a:cxnSpLocks/>
          </p:cNvCxnSpPr>
          <p:nvPr userDrawn="1"/>
        </p:nvCxnSpPr>
        <p:spPr bwMode="auto">
          <a:xfrm flipV="1">
            <a:off x="2424110" y="1484312"/>
            <a:ext cx="0" cy="2160000"/>
          </a:xfrm>
          <a:prstGeom prst="line">
            <a:avLst/>
          </a:prstGeom>
          <a:ln>
            <a:solidFill>
              <a:srgbClr val="1C5158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C9FDFC5-4E18-4B41-9838-07F3F65BCCDB}"/>
              </a:ext>
            </a:extLst>
          </p:cNvPr>
          <p:cNvCxnSpPr>
            <a:cxnSpLocks/>
          </p:cNvCxnSpPr>
          <p:nvPr userDrawn="1"/>
        </p:nvCxnSpPr>
        <p:spPr bwMode="auto">
          <a:xfrm>
            <a:off x="2424110" y="4041774"/>
            <a:ext cx="0" cy="2160000"/>
          </a:xfrm>
          <a:prstGeom prst="line">
            <a:avLst/>
          </a:prstGeom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588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46" userDrawn="1">
          <p15:clr>
            <a:srgbClr val="FBAE40"/>
          </p15:clr>
        </p15:guide>
        <p15:guide id="2" orient="horz" pos="2296" userDrawn="1">
          <p15:clr>
            <a:srgbClr val="FBAE40"/>
          </p15:clr>
        </p15:guide>
        <p15:guide id="3" pos="1527" userDrawn="1">
          <p15:clr>
            <a:srgbClr val="FBAE40"/>
          </p15:clr>
        </p15:guide>
        <p15:guide id="4" pos="161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963" y="1484313"/>
            <a:ext cx="11522075" cy="47164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9" name="Rectangle 5">
            <a:extLst>
              <a:ext uri="{FF2B5EF4-FFF2-40B4-BE49-F238E27FC236}">
                <a16:creationId xmlns:a16="http://schemas.microsoft.com/office/drawing/2014/main" id="{C0421248-1D73-42F8-B050-A68427AEFEC1}"/>
              </a:ext>
            </a:extLst>
          </p:cNvPr>
          <p:cNvSpPr txBox="1"/>
          <p:nvPr userDrawn="1"/>
        </p:nvSpPr>
        <p:spPr>
          <a:xfrm>
            <a:off x="9515936" y="6381751"/>
            <a:ext cx="1720114" cy="432000"/>
          </a:xfrm>
          <a:prstGeom prst="rect">
            <a:avLst/>
          </a:prstGeom>
          <a:noFill/>
        </p:spPr>
        <p:txBody>
          <a:bodyPr wrap="square" rIns="0" rtlCol="0" anchor="b">
            <a:noAutofit/>
          </a:bodyPr>
          <a:lstStyle/>
          <a:p>
            <a:pPr marL="0" indent="0" algn="r">
              <a:buFont typeface="Wingdings" panose="05000000000000000000" pitchFamily="2" charset="2"/>
              <a:buNone/>
            </a:pPr>
            <a:r>
              <a: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THEMA Consulting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826FA5-6C51-4367-8174-BA405B5B6E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92" y="6381750"/>
            <a:ext cx="432446" cy="4320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68C484-443B-4B0A-828D-BB92BE3C34C2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D8FDE42-DDCA-47AB-B58D-B9F0709C925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rcRect l="27521" t="32473" r="60787" b="52136"/>
          <a:stretch/>
        </p:blipFill>
        <p:spPr>
          <a:xfrm>
            <a:off x="0" y="6288695"/>
            <a:ext cx="612068" cy="569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2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40" r:id="rId2"/>
    <p:sldLayoutId id="2147483779" r:id="rId3"/>
    <p:sldLayoutId id="2147483718" r:id="rId4"/>
    <p:sldLayoutId id="2147483802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770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nb-NO" sz="24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1800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None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1800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tabLst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1800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1800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1800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lang="nb-NO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 userDrawn="1">
          <p15:clr>
            <a:srgbClr val="F26B43"/>
          </p15:clr>
        </p15:guide>
        <p15:guide id="4" orient="horz" pos="2160" userDrawn="1">
          <p15:clr>
            <a:srgbClr val="F26B43"/>
          </p15:clr>
        </p15:guide>
        <p15:guide id="5" pos="211" userDrawn="1">
          <p15:clr>
            <a:srgbClr val="000000"/>
          </p15:clr>
        </p15:guide>
        <p15:guide id="6" pos="7469" userDrawn="1">
          <p15:clr>
            <a:srgbClr val="000000"/>
          </p15:clr>
        </p15:guide>
        <p15:guide id="7" orient="horz" pos="300" userDrawn="1">
          <p15:clr>
            <a:srgbClr val="000000"/>
          </p15:clr>
        </p15:guide>
        <p15:guide id="8" orient="horz" pos="935" userDrawn="1">
          <p15:clr>
            <a:srgbClr val="547EBF"/>
          </p15:clr>
        </p15:guide>
        <p15:guide id="9" orient="horz" pos="4020" userDrawn="1">
          <p15:clr>
            <a:srgbClr val="000000"/>
          </p15:clr>
        </p15:guide>
        <p15:guide id="10" orient="horz" pos="3906" userDrawn="1">
          <p15:clr>
            <a:srgbClr val="547EBF"/>
          </p15:clr>
        </p15:guide>
        <p15:guide id="11" orient="horz" pos="2409" userDrawn="1">
          <p15:clr>
            <a:srgbClr val="547EBF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microsoft.com/office/2007/relationships/hdphoto" Target="../media/hdphoto2.wdp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close-up of water drops&#10;&#10;Description automatically generated with low confidence">
            <a:extLst>
              <a:ext uri="{FF2B5EF4-FFF2-40B4-BE49-F238E27FC236}">
                <a16:creationId xmlns:a16="http://schemas.microsoft.com/office/drawing/2014/main" id="{AFD7A4AB-28FE-42B1-A847-BCCFF1450EA9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804" b="3804"/>
          <a:stretch>
            <a:fillRect/>
          </a:stretch>
        </p:blipFill>
        <p:spPr/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738768-7D0A-409A-AB04-B9D7D603043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0E80367-2598-4F0E-9083-C09F160621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7" y="4476842"/>
            <a:ext cx="5669428" cy="952600"/>
          </a:xfrm>
        </p:spPr>
        <p:txBody>
          <a:bodyPr/>
          <a:lstStyle/>
          <a:p>
            <a:r>
              <a:rPr lang="en-US" dirty="0"/>
              <a:t>Effect of flexible H2 generation on production cos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6166A5-A01D-45C3-B27F-61A339A91B9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MAs Technology Outlook: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4346AEB-7260-4782-8F5B-8264F4D678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obert Seguin, Thema Consulting Group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6F0029F-7F8D-4641-B769-3F5E016A4E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37937" y="3421839"/>
            <a:ext cx="2330573" cy="3260476"/>
          </a:xfrm>
          <a:prstGeom prst="rect">
            <a:avLst/>
          </a:prstGeom>
          <a:ln w="285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1045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Rectangle 51">
            <a:extLst>
              <a:ext uri="{FF2B5EF4-FFF2-40B4-BE49-F238E27FC236}">
                <a16:creationId xmlns:a16="http://schemas.microsoft.com/office/drawing/2014/main" id="{41ED5912-990B-438F-87B4-BEAF02BCB254}"/>
              </a:ext>
            </a:extLst>
          </p:cNvPr>
          <p:cNvSpPr/>
          <p:nvPr/>
        </p:nvSpPr>
        <p:spPr>
          <a:xfrm>
            <a:off x="6373778" y="2669095"/>
            <a:ext cx="5483258" cy="297528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C3E18D2-BCC5-4228-8712-6285FB7B87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73778" y="5689067"/>
            <a:ext cx="5787029" cy="216000"/>
          </a:xfrm>
        </p:spPr>
        <p:txBody>
          <a:bodyPr/>
          <a:lstStyle/>
          <a:p>
            <a:r>
              <a:rPr lang="en-US" sz="1100"/>
              <a:t>2030 assumptions : CAPEX=450 kEUR/MW, OPEX=7 kEUR/MW, electricity price=80 EUR/MWh</a:t>
            </a:r>
            <a:endParaRPr lang="en-US" sz="11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86E6544-EDED-450C-83F3-EF0CCB8A70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6BA06D-219D-4DB1-961A-7AFCA7FAE0C4}" type="slidenum">
              <a:rPr lang="en-US" smtClean="0"/>
              <a:t>2</a:t>
            </a:fld>
            <a:endParaRPr lang="en-US" dirty="0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AA108D1A-E70C-479C-9621-ED18E4949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duction costs for green hydrogen are dominated by electricity costs</a:t>
            </a:r>
            <a:br>
              <a:rPr lang="en-US"/>
            </a:br>
            <a:r>
              <a:rPr lang="en-US" sz="2000"/>
              <a:t>Consider grid-connected electrolysis with spot market electricity prices</a:t>
            </a:r>
            <a:endParaRPr lang="en-US" sz="2000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8C6C80E8-F22A-4278-A75C-97A8B63452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Production costs for green H2 dominated by electricity costs</a:t>
            </a:r>
            <a:endParaRPr lang="en-US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605AB00-9098-45BA-8514-8AB4143F272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br>
              <a:rPr lang="en-US"/>
            </a:br>
            <a:r>
              <a:rPr lang="en-US"/>
              <a:t>At constant electricity prices high utilization rates are favorable</a:t>
            </a:r>
            <a:endParaRPr lang="en-US" dirty="0"/>
          </a:p>
        </p:txBody>
      </p:sp>
      <p:sp>
        <p:nvSpPr>
          <p:cNvPr id="22" name="Grunt object 9962b5a87844b0956461f0b43937442f">
            <a:extLst>
              <a:ext uri="{FF2B5EF4-FFF2-40B4-BE49-F238E27FC236}">
                <a16:creationId xmlns:a16="http://schemas.microsoft.com/office/drawing/2014/main" id="{B25BFCE3-DC23-4602-ADF7-99263174944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892300" y="2654300"/>
            <a:ext cx="1644650" cy="3714750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>
            <a:reflection stA="0" endPos="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23" name="Text Placeholder 18">
            <a:extLst>
              <a:ext uri="{FF2B5EF4-FFF2-40B4-BE49-F238E27FC236}">
                <a16:creationId xmlns:a16="http://schemas.microsoft.com/office/drawing/2014/main" id="{AB11344B-639C-433B-A322-7BB72155ECD0}"/>
              </a:ext>
            </a:extLst>
          </p:cNvPr>
          <p:cNvSpPr txBox="1">
            <a:spLocks/>
          </p:cNvSpPr>
          <p:nvPr/>
        </p:nvSpPr>
        <p:spPr>
          <a:xfrm>
            <a:off x="669670" y="2939079"/>
            <a:ext cx="1644649" cy="7353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annualized CAPEX,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OPEX</a:t>
            </a:r>
            <a:endParaRPr lang="en-US" dirty="0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D6936333-2C7C-4541-A723-D66B7CC60F37}"/>
              </a:ext>
            </a:extLst>
          </p:cNvPr>
          <p:cNvSpPr txBox="1">
            <a:spLocks/>
          </p:cNvSpPr>
          <p:nvPr/>
        </p:nvSpPr>
        <p:spPr>
          <a:xfrm>
            <a:off x="3217646" y="3005796"/>
            <a:ext cx="1918963" cy="305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[EUR/MW</a:t>
            </a:r>
            <a:r>
              <a:rPr lang="en-US" baseline="-25000"/>
              <a:t>capacity</a:t>
            </a:r>
            <a:r>
              <a:rPr lang="en-US"/>
              <a:t>]</a:t>
            </a:r>
            <a:endParaRPr lang="en-US" dirty="0"/>
          </a:p>
        </p:txBody>
      </p:sp>
      <p:sp>
        <p:nvSpPr>
          <p:cNvPr id="25" name="Text Placeholder 18">
            <a:extLst>
              <a:ext uri="{FF2B5EF4-FFF2-40B4-BE49-F238E27FC236}">
                <a16:creationId xmlns:a16="http://schemas.microsoft.com/office/drawing/2014/main" id="{CBC84D5A-F4CC-4278-9A78-B05D0F5FA240}"/>
              </a:ext>
            </a:extLst>
          </p:cNvPr>
          <p:cNvSpPr txBox="1">
            <a:spLocks/>
          </p:cNvSpPr>
          <p:nvPr/>
        </p:nvSpPr>
        <p:spPr>
          <a:xfrm>
            <a:off x="669670" y="2642996"/>
            <a:ext cx="1331796" cy="3073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grid fees, taxes</a:t>
            </a:r>
            <a:endParaRPr lang="en-US" dirty="0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08698789-C791-4F34-8CE5-2A57B5D5BF95}"/>
              </a:ext>
            </a:extLst>
          </p:cNvPr>
          <p:cNvSpPr txBox="1">
            <a:spLocks/>
          </p:cNvSpPr>
          <p:nvPr/>
        </p:nvSpPr>
        <p:spPr>
          <a:xfrm>
            <a:off x="3222642" y="2654298"/>
            <a:ext cx="3065102" cy="3136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[EUR/MWh</a:t>
            </a:r>
            <a:r>
              <a:rPr lang="en-US" baseline="-25000"/>
              <a:t>electricity</a:t>
            </a:r>
            <a:r>
              <a:rPr lang="en-US"/>
              <a:t>]  / [EUR/MW</a:t>
            </a:r>
            <a:r>
              <a:rPr lang="en-US" baseline="-25000"/>
              <a:t>electricity</a:t>
            </a:r>
            <a:r>
              <a:rPr lang="en-US"/>
              <a:t>]</a:t>
            </a:r>
            <a:endParaRPr lang="en-US" dirty="0"/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6E326EE4-7282-4434-8E4D-18A097FBAC79}"/>
              </a:ext>
            </a:extLst>
          </p:cNvPr>
          <p:cNvSpPr txBox="1">
            <a:spLocks/>
          </p:cNvSpPr>
          <p:nvPr/>
        </p:nvSpPr>
        <p:spPr>
          <a:xfrm>
            <a:off x="3296267" y="4908558"/>
            <a:ext cx="1918963" cy="30577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/>
              <a:t>[EUR/MWh</a:t>
            </a:r>
            <a:r>
              <a:rPr lang="en-US" baseline="-25000"/>
              <a:t>electricity</a:t>
            </a:r>
            <a:r>
              <a:rPr lang="en-US"/>
              <a:t>]</a:t>
            </a:r>
            <a:endParaRPr lang="en-US" dirty="0"/>
          </a:p>
        </p:txBody>
      </p:sp>
      <p:sp>
        <p:nvSpPr>
          <p:cNvPr id="30" name="Text Placeholder 18">
            <a:extLst>
              <a:ext uri="{FF2B5EF4-FFF2-40B4-BE49-F238E27FC236}">
                <a16:creationId xmlns:a16="http://schemas.microsoft.com/office/drawing/2014/main" id="{3B843B92-9301-45F6-9C54-5CCC5D72CCC6}"/>
              </a:ext>
            </a:extLst>
          </p:cNvPr>
          <p:cNvSpPr txBox="1">
            <a:spLocks/>
          </p:cNvSpPr>
          <p:nvPr/>
        </p:nvSpPr>
        <p:spPr>
          <a:xfrm>
            <a:off x="2314319" y="4363391"/>
            <a:ext cx="1001646" cy="3676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70 - 90%</a:t>
            </a:r>
            <a:endParaRPr lang="en-US" dirty="0"/>
          </a:p>
        </p:txBody>
      </p:sp>
      <p:sp>
        <p:nvSpPr>
          <p:cNvPr id="34" name="Text Placeholder 18">
            <a:extLst>
              <a:ext uri="{FF2B5EF4-FFF2-40B4-BE49-F238E27FC236}">
                <a16:creationId xmlns:a16="http://schemas.microsoft.com/office/drawing/2014/main" id="{8EFCE4EF-C38B-423E-9A18-1CF49D071DDC}"/>
              </a:ext>
            </a:extLst>
          </p:cNvPr>
          <p:cNvSpPr txBox="1">
            <a:spLocks/>
          </p:cNvSpPr>
          <p:nvPr/>
        </p:nvSpPr>
        <p:spPr>
          <a:xfrm>
            <a:off x="714294" y="4841841"/>
            <a:ext cx="1331796" cy="7353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electricity costs</a:t>
            </a:r>
            <a:endParaRPr lang="en-US" dirty="0"/>
          </a:p>
        </p:txBody>
      </p:sp>
      <p:pic>
        <p:nvPicPr>
          <p:cNvPr id="44" name="Picture 43" descr="Graphical user interface, chart&#10;&#10;Description automatically generated with medium confidence">
            <a:extLst>
              <a:ext uri="{FF2B5EF4-FFF2-40B4-BE49-F238E27FC236}">
                <a16:creationId xmlns:a16="http://schemas.microsoft.com/office/drawing/2014/main" id="{9009D17B-034F-443D-818B-A59388ABF7C7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5151" y="2673150"/>
            <a:ext cx="5008083" cy="2904038"/>
          </a:xfrm>
          <a:prstGeom prst="rect">
            <a:avLst/>
          </a:prstGeom>
        </p:spPr>
      </p:pic>
      <p:pic>
        <p:nvPicPr>
          <p:cNvPr id="49" name="Picture Placeholder 13" descr="A close-up of water drops&#10;&#10;Description automatically generated with low confidence">
            <a:extLst>
              <a:ext uri="{FF2B5EF4-FFF2-40B4-BE49-F238E27FC236}">
                <a16:creationId xmlns:a16="http://schemas.microsoft.com/office/drawing/2014/main" id="{ADD8012D-5FFC-4330-89BB-CD7F831E4F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24" r="3624"/>
          <a:stretch>
            <a:fillRect/>
          </a:stretch>
        </p:blipFill>
        <p:spPr>
          <a:xfrm>
            <a:off x="7153783" y="358"/>
            <a:ext cx="5038218" cy="2833702"/>
          </a:xfrm>
          <a:custGeom>
            <a:avLst/>
            <a:gdLst>
              <a:gd name="connsiteX0" fmla="*/ 25165 w 6096000"/>
              <a:gd name="connsiteY0" fmla="*/ 0 h 3428642"/>
              <a:gd name="connsiteX1" fmla="*/ 6096000 w 6096000"/>
              <a:gd name="connsiteY1" fmla="*/ 0 h 3428642"/>
              <a:gd name="connsiteX2" fmla="*/ 6096000 w 6096000"/>
              <a:gd name="connsiteY2" fmla="*/ 3428642 h 3428642"/>
              <a:gd name="connsiteX3" fmla="*/ 0 w 6096000"/>
              <a:gd name="connsiteY3" fmla="*/ 3428642 h 3428642"/>
              <a:gd name="connsiteX4" fmla="*/ 0 w 6096000"/>
              <a:gd name="connsiteY4" fmla="*/ 3428463 h 3428642"/>
              <a:gd name="connsiteX5" fmla="*/ 6095999 w 6096000"/>
              <a:gd name="connsiteY5" fmla="*/ 3428463 h 3428642"/>
              <a:gd name="connsiteX6" fmla="*/ 313698 w 6096000"/>
              <a:gd name="connsiteY6" fmla="*/ 4104 h 342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3428642">
                <a:moveTo>
                  <a:pt x="25165" y="0"/>
                </a:moveTo>
                <a:lnTo>
                  <a:pt x="6096000" y="0"/>
                </a:lnTo>
                <a:lnTo>
                  <a:pt x="6096000" y="3428642"/>
                </a:lnTo>
                <a:lnTo>
                  <a:pt x="0" y="3428642"/>
                </a:lnTo>
                <a:lnTo>
                  <a:pt x="0" y="3428463"/>
                </a:lnTo>
                <a:lnTo>
                  <a:pt x="6095999" y="3428463"/>
                </a:lnTo>
                <a:cubicBezTo>
                  <a:pt x="6095999" y="1593955"/>
                  <a:pt x="3534640" y="95938"/>
                  <a:pt x="313698" y="4104"/>
                </a:cubicBezTo>
                <a:close/>
              </a:path>
            </a:pathLst>
          </a:cu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09236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44">
            <a:extLst>
              <a:ext uri="{FF2B5EF4-FFF2-40B4-BE49-F238E27FC236}">
                <a16:creationId xmlns:a16="http://schemas.microsoft.com/office/drawing/2014/main" id="{1760E6E6-838E-4EC5-BF8D-01395FD7E41C}"/>
              </a:ext>
            </a:extLst>
          </p:cNvPr>
          <p:cNvSpPr/>
          <p:nvPr/>
        </p:nvSpPr>
        <p:spPr>
          <a:xfrm>
            <a:off x="331861" y="3028661"/>
            <a:ext cx="3600449" cy="25754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AADFF2B-3960-4196-B05A-27754DC24409}"/>
              </a:ext>
            </a:extLst>
          </p:cNvPr>
          <p:cNvSpPr/>
          <p:nvPr/>
        </p:nvSpPr>
        <p:spPr>
          <a:xfrm>
            <a:off x="8254106" y="3028661"/>
            <a:ext cx="3600449" cy="25754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0A8B6E0-B9FC-4ABD-8A6D-4FE166C262AD}"/>
              </a:ext>
            </a:extLst>
          </p:cNvPr>
          <p:cNvSpPr/>
          <p:nvPr/>
        </p:nvSpPr>
        <p:spPr>
          <a:xfrm>
            <a:off x="4294535" y="3028661"/>
            <a:ext cx="3600449" cy="25754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3168A2-DDD2-453A-B4AF-1D35A7CD8D8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6BA06D-219D-4DB1-961A-7AFCA7FAE0C4}" type="slidenum">
              <a:rPr lang="en-US" smtClean="0"/>
              <a:t>3</a:t>
            </a:fld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5A956B6-399F-43BD-A9B7-56010019EE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34964" y="1965846"/>
            <a:ext cx="3600449" cy="3448899"/>
          </a:xfrm>
        </p:spPr>
        <p:txBody>
          <a:bodyPr lIns="36000" rIns="36000"/>
          <a:lstStyle/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Example from Germany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Average price: ~80 EUR/MWh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Lowest price: 0 EUR/MWh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Peak price: &gt;300 EUR/MWh</a:t>
            </a:r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3657D13-DB8B-4F15-B49A-D8956A11A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8886325" cy="755999"/>
          </a:xfrm>
        </p:spPr>
        <p:txBody>
          <a:bodyPr/>
          <a:lstStyle/>
          <a:p>
            <a:r>
              <a:rPr lang="en-US"/>
              <a:t>Electricity prices vary – dynamic operation can reduce electricity cost and thus hydrogen production costs</a:t>
            </a:r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494F269F-22D1-4169-8789-AD64EB69130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Substantial price volatility</a:t>
            </a:r>
            <a:endParaRPr lang="en-US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E65F6DCF-7C48-4EFA-BDA7-3B53EC0FA81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295775" y="1965846"/>
            <a:ext cx="3600449" cy="4234929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Production during the lowest-cost hours only:</a:t>
            </a:r>
          </a:p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Cost reduction for electricity outweighs cost increase for CAPEX and OPEX.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4FFDDA1-9C23-47C5-92C8-D4B7359F224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High utilization not always key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D377914A-B837-488E-865C-E630FB4D1D7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56589" y="1965846"/>
            <a:ext cx="3600449" cy="348096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200"/>
              </a:spcAft>
            </a:pPr>
            <a:r>
              <a:rPr lang="en-US"/>
              <a:t>Depending on the market value of the H2, lower production volumes at lower production cost per unit can be a profitable option.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FD4864A8-5600-4B69-9BAD-BAE7B74555E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56589" y="1484313"/>
            <a:ext cx="3597966" cy="431800"/>
          </a:xfrm>
        </p:spPr>
        <p:txBody>
          <a:bodyPr/>
          <a:lstStyle/>
          <a:p>
            <a:r>
              <a:rPr lang="en-US"/>
              <a:t>Dead projects can become profitable</a:t>
            </a:r>
            <a:endParaRPr lang="en-US" dirty="0"/>
          </a:p>
        </p:txBody>
      </p:sp>
      <p:pic>
        <p:nvPicPr>
          <p:cNvPr id="11" name="Picture 10" descr="Chart, bar chart, histogram&#10;&#10;Description automatically generated">
            <a:extLst>
              <a:ext uri="{FF2B5EF4-FFF2-40B4-BE49-F238E27FC236}">
                <a16:creationId xmlns:a16="http://schemas.microsoft.com/office/drawing/2014/main" id="{B6D31EB7-EFBC-43F8-B5BE-4D39747496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720" y="3183508"/>
            <a:ext cx="3538691" cy="2248950"/>
          </a:xfrm>
          <a:prstGeom prst="rect">
            <a:avLst/>
          </a:prstGeom>
        </p:spPr>
      </p:pic>
      <p:pic>
        <p:nvPicPr>
          <p:cNvPr id="33" name="Picture Placeholder 13" descr="A close-up of water drops&#10;&#10;Description automatically generated with low confidence">
            <a:extLst>
              <a:ext uri="{FF2B5EF4-FFF2-40B4-BE49-F238E27FC236}">
                <a16:creationId xmlns:a16="http://schemas.microsoft.com/office/drawing/2014/main" id="{2166364C-3A88-4BCA-A12C-646B0915E4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24" r="3624"/>
          <a:stretch>
            <a:fillRect/>
          </a:stretch>
        </p:blipFill>
        <p:spPr>
          <a:xfrm>
            <a:off x="7153783" y="358"/>
            <a:ext cx="5038218" cy="2833702"/>
          </a:xfrm>
          <a:custGeom>
            <a:avLst/>
            <a:gdLst>
              <a:gd name="connsiteX0" fmla="*/ 25165 w 6096000"/>
              <a:gd name="connsiteY0" fmla="*/ 0 h 3428642"/>
              <a:gd name="connsiteX1" fmla="*/ 6096000 w 6096000"/>
              <a:gd name="connsiteY1" fmla="*/ 0 h 3428642"/>
              <a:gd name="connsiteX2" fmla="*/ 6096000 w 6096000"/>
              <a:gd name="connsiteY2" fmla="*/ 3428642 h 3428642"/>
              <a:gd name="connsiteX3" fmla="*/ 0 w 6096000"/>
              <a:gd name="connsiteY3" fmla="*/ 3428642 h 3428642"/>
              <a:gd name="connsiteX4" fmla="*/ 0 w 6096000"/>
              <a:gd name="connsiteY4" fmla="*/ 3428463 h 3428642"/>
              <a:gd name="connsiteX5" fmla="*/ 6095999 w 6096000"/>
              <a:gd name="connsiteY5" fmla="*/ 3428463 h 3428642"/>
              <a:gd name="connsiteX6" fmla="*/ 313698 w 6096000"/>
              <a:gd name="connsiteY6" fmla="*/ 4104 h 342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3428642">
                <a:moveTo>
                  <a:pt x="25165" y="0"/>
                </a:moveTo>
                <a:lnTo>
                  <a:pt x="6096000" y="0"/>
                </a:lnTo>
                <a:lnTo>
                  <a:pt x="6096000" y="3428642"/>
                </a:lnTo>
                <a:lnTo>
                  <a:pt x="0" y="3428642"/>
                </a:lnTo>
                <a:lnTo>
                  <a:pt x="0" y="3428463"/>
                </a:lnTo>
                <a:lnTo>
                  <a:pt x="6095999" y="3428463"/>
                </a:lnTo>
                <a:cubicBezTo>
                  <a:pt x="6095999" y="1593955"/>
                  <a:pt x="3534640" y="95938"/>
                  <a:pt x="313698" y="4104"/>
                </a:cubicBezTo>
                <a:close/>
              </a:path>
            </a:pathLst>
          </a:custGeom>
        </p:spPr>
      </p:pic>
      <p:sp>
        <p:nvSpPr>
          <p:cNvPr id="47" name="Text Placeholder 15">
            <a:extLst>
              <a:ext uri="{FF2B5EF4-FFF2-40B4-BE49-F238E27FC236}">
                <a16:creationId xmlns:a16="http://schemas.microsoft.com/office/drawing/2014/main" id="{7A25DA0B-923A-4207-B763-9950413B2AFF}"/>
              </a:ext>
            </a:extLst>
          </p:cNvPr>
          <p:cNvSpPr txBox="1">
            <a:spLocks/>
          </p:cNvSpPr>
          <p:nvPr/>
        </p:nvSpPr>
        <p:spPr>
          <a:xfrm>
            <a:off x="4319932" y="5661807"/>
            <a:ext cx="5787029" cy="216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2030 assumptions : CAPEX=450 kEUR/MW, OPEX=7 kEUR/MW, electricity price=80 EUR/MWh</a:t>
            </a:r>
            <a:endParaRPr lang="en-US" sz="1100" dirty="0"/>
          </a:p>
        </p:txBody>
      </p:sp>
      <p:sp>
        <p:nvSpPr>
          <p:cNvPr id="52" name="Text Placeholder 15">
            <a:extLst>
              <a:ext uri="{FF2B5EF4-FFF2-40B4-BE49-F238E27FC236}">
                <a16:creationId xmlns:a16="http://schemas.microsoft.com/office/drawing/2014/main" id="{08409A8D-D6D2-49FA-BA8A-C4277D78B38D}"/>
              </a:ext>
            </a:extLst>
          </p:cNvPr>
          <p:cNvSpPr txBox="1">
            <a:spLocks/>
          </p:cNvSpPr>
          <p:nvPr/>
        </p:nvSpPr>
        <p:spPr>
          <a:xfrm>
            <a:off x="254572" y="5661807"/>
            <a:ext cx="3705618" cy="216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US" sz="1200" i="1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200" kern="1200" dirty="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GB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/>
              <a:t>THEMA’s recent Market Outlook for Germany in 2030</a:t>
            </a:r>
            <a:endParaRPr lang="en-US" sz="105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ADFBA31-574A-422F-8A8C-14AAF2EE04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67895" y="2896280"/>
            <a:ext cx="3621338" cy="301168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72FF2C7-6870-4D0A-B417-C1DD6A813C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05437" y="2998503"/>
            <a:ext cx="3603048" cy="2584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9319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39">
            <a:extLst>
              <a:ext uri="{FF2B5EF4-FFF2-40B4-BE49-F238E27FC236}">
                <a16:creationId xmlns:a16="http://schemas.microsoft.com/office/drawing/2014/main" id="{31BBDD5E-8AE8-4F16-B437-9B386FFF65EF}"/>
              </a:ext>
            </a:extLst>
          </p:cNvPr>
          <p:cNvSpPr/>
          <p:nvPr/>
        </p:nvSpPr>
        <p:spPr>
          <a:xfrm>
            <a:off x="331861" y="3028661"/>
            <a:ext cx="3600449" cy="257542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 err="1">
              <a:solidFill>
                <a:schemeClr val="tx1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3191D1-3E72-4FC3-91BE-18C128CB0F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E56BA06D-219D-4DB1-961A-7AFCA7FAE0C4}" type="slidenum">
              <a:rPr lang="en-US" smtClean="0"/>
              <a:t>4</a:t>
            </a:fld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29986454-1DCE-49A3-915C-CEEDCFF5E6B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/>
              <a:t>Dynamic operation results in very different costs curves in the three bidding zones shown.</a:t>
            </a:r>
            <a:endParaRPr lang="en-US" dirty="0"/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9CB12543-4E9B-492A-857E-76192B59F5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476250"/>
            <a:ext cx="8490255" cy="755999"/>
          </a:xfrm>
        </p:spPr>
        <p:txBody>
          <a:bodyPr/>
          <a:lstStyle/>
          <a:p>
            <a:r>
              <a:rPr lang="en-US"/>
              <a:t>The decrease of costs and overall profits depends on the electricity market environment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8F64ED8-9FF3-45FF-B7DD-92918B9F7EC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/>
              <a:t>Different bidding zones</a:t>
            </a:r>
            <a:endParaRPr lang="en-US" dirty="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8C9D70E2-25B9-471A-BEF0-F31F98D56BC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/>
              <a:t>Regions with a lot of flexible hydro power have lower cost reduction potential (red color) than regions with little flexibility in the system (green color).</a:t>
            </a:r>
            <a:endParaRPr lang="en-US" dirty="0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53837A82-661D-46C6-A96A-74AE25875B0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US"/>
              <a:t>Strong local variations</a:t>
            </a:r>
            <a:endParaRPr lang="en-US" dirty="0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24F28524-7B24-4507-9FD3-709ED549567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256589" y="2061287"/>
            <a:ext cx="3600449" cy="2754872"/>
          </a:xfrm>
        </p:spPr>
        <p:txBody>
          <a:bodyPr/>
          <a:lstStyle/>
          <a:p>
            <a:r>
              <a:rPr lang="en-US"/>
              <a:t>Whether or not flexible operation strategiesare favorable depends on a number of parameter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/>
              <a:t>Electricity price </a:t>
            </a:r>
            <a:r>
              <a:rPr lang="en-US">
                <a:sym typeface="Wingdings" panose="05000000000000000000" pitchFamily="2" charset="2"/>
              </a:rPr>
              <a:t>volat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ym typeface="Wingdings" panose="05000000000000000000" pitchFamily="2" charset="2"/>
              </a:rPr>
              <a:t>Overall price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ym typeface="Wingdings" panose="05000000000000000000" pitchFamily="2" charset="2"/>
              </a:rPr>
              <a:t>Market prices hydro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ym typeface="Wingdings" panose="05000000000000000000" pitchFamily="2" charset="2"/>
              </a:rPr>
              <a:t>Electrolyser cost paramet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ym typeface="Wingdings" panose="05000000000000000000" pitchFamily="2" charset="2"/>
              </a:rPr>
              <a:t>Flexible operation potenti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ym typeface="Wingdings" panose="05000000000000000000" pitchFamily="2" charset="2"/>
              </a:rPr>
              <a:t>Operation strate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>
                <a:sym typeface="Wingdings" panose="05000000000000000000" pitchFamily="2" charset="2"/>
              </a:rPr>
              <a:t>…</a:t>
            </a:r>
            <a:endParaRPr lang="en-US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C5EBB322-CD7A-4D87-9AB9-A4AF8203631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US"/>
              <a:t>Essential market environment factors</a:t>
            </a:r>
            <a:endParaRPr lang="en-US" dirty="0"/>
          </a:p>
        </p:txBody>
      </p:sp>
      <p:pic>
        <p:nvPicPr>
          <p:cNvPr id="34" name="Picture 33" descr="Map&#10;&#10;Description automatically generated">
            <a:extLst>
              <a:ext uri="{FF2B5EF4-FFF2-40B4-BE49-F238E27FC236}">
                <a16:creationId xmlns:a16="http://schemas.microsoft.com/office/drawing/2014/main" id="{71F3D7E3-55FF-4594-8B4C-8AC544A3AD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404" y="2881241"/>
            <a:ext cx="3328752" cy="3372052"/>
          </a:xfrm>
          <a:prstGeom prst="rect">
            <a:avLst/>
          </a:prstGeom>
        </p:spPr>
      </p:pic>
      <p:pic>
        <p:nvPicPr>
          <p:cNvPr id="36" name="Picture Placeholder 13" descr="A close-up of water drops&#10;&#10;Description automatically generated with low confidence">
            <a:extLst>
              <a:ext uri="{FF2B5EF4-FFF2-40B4-BE49-F238E27FC236}">
                <a16:creationId xmlns:a16="http://schemas.microsoft.com/office/drawing/2014/main" id="{39CF4FB0-E4F9-4B9C-A5B2-DD865ECF64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24" r="3624"/>
          <a:stretch>
            <a:fillRect/>
          </a:stretch>
        </p:blipFill>
        <p:spPr>
          <a:xfrm>
            <a:off x="7153783" y="358"/>
            <a:ext cx="5038218" cy="2833702"/>
          </a:xfrm>
          <a:custGeom>
            <a:avLst/>
            <a:gdLst>
              <a:gd name="connsiteX0" fmla="*/ 25165 w 6096000"/>
              <a:gd name="connsiteY0" fmla="*/ 0 h 3428642"/>
              <a:gd name="connsiteX1" fmla="*/ 6096000 w 6096000"/>
              <a:gd name="connsiteY1" fmla="*/ 0 h 3428642"/>
              <a:gd name="connsiteX2" fmla="*/ 6096000 w 6096000"/>
              <a:gd name="connsiteY2" fmla="*/ 3428642 h 3428642"/>
              <a:gd name="connsiteX3" fmla="*/ 0 w 6096000"/>
              <a:gd name="connsiteY3" fmla="*/ 3428642 h 3428642"/>
              <a:gd name="connsiteX4" fmla="*/ 0 w 6096000"/>
              <a:gd name="connsiteY4" fmla="*/ 3428463 h 3428642"/>
              <a:gd name="connsiteX5" fmla="*/ 6095999 w 6096000"/>
              <a:gd name="connsiteY5" fmla="*/ 3428463 h 3428642"/>
              <a:gd name="connsiteX6" fmla="*/ 313698 w 6096000"/>
              <a:gd name="connsiteY6" fmla="*/ 4104 h 3428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3428642">
                <a:moveTo>
                  <a:pt x="25165" y="0"/>
                </a:moveTo>
                <a:lnTo>
                  <a:pt x="6096000" y="0"/>
                </a:lnTo>
                <a:lnTo>
                  <a:pt x="6096000" y="3428642"/>
                </a:lnTo>
                <a:lnTo>
                  <a:pt x="0" y="3428642"/>
                </a:lnTo>
                <a:lnTo>
                  <a:pt x="0" y="3428463"/>
                </a:lnTo>
                <a:lnTo>
                  <a:pt x="6095999" y="3428463"/>
                </a:lnTo>
                <a:cubicBezTo>
                  <a:pt x="6095999" y="1593955"/>
                  <a:pt x="3534640" y="95938"/>
                  <a:pt x="313698" y="4104"/>
                </a:cubicBezTo>
                <a:close/>
              </a:path>
            </a:pathLst>
          </a:custGeom>
        </p:spPr>
      </p:pic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A9709933-4A49-493D-B152-3313EFDA41EA}"/>
              </a:ext>
            </a:extLst>
          </p:cNvPr>
          <p:cNvSpPr txBox="1">
            <a:spLocks/>
          </p:cNvSpPr>
          <p:nvPr/>
        </p:nvSpPr>
        <p:spPr>
          <a:xfrm>
            <a:off x="8314148" y="5309265"/>
            <a:ext cx="3643426" cy="68939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GB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>
                <a:solidFill>
                  <a:schemeClr val="bg1"/>
                </a:solidFill>
              </a:rPr>
              <a:t>High utilization rates are not always the most profitable solution! </a:t>
            </a:r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9B7E302-726D-4B64-8994-FF14372DD3A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764" y="2949121"/>
            <a:ext cx="3603048" cy="25788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1264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4">
            <a:extLst>
              <a:ext uri="{FF2B5EF4-FFF2-40B4-BE49-F238E27FC236}">
                <a16:creationId xmlns:a16="http://schemas.microsoft.com/office/drawing/2014/main" id="{88F91E05-5484-4909-9451-22880B1ED876}"/>
              </a:ext>
            </a:extLst>
          </p:cNvPr>
          <p:cNvSpPr txBox="1">
            <a:spLocks/>
          </p:cNvSpPr>
          <p:nvPr/>
        </p:nvSpPr>
        <p:spPr>
          <a:xfrm>
            <a:off x="5103222" y="4465872"/>
            <a:ext cx="4824549" cy="324000"/>
          </a:xfrm>
          <a:prstGeom prst="rect">
            <a:avLst/>
          </a:prstGeom>
        </p:spPr>
        <p:txBody>
          <a:bodyPr anchor="ctr"/>
          <a:lstStyle>
            <a:lvl1pPr marL="0" indent="0" algn="l" defTabSz="1800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anose="05000000000000000000" pitchFamily="2" charset="2"/>
              <a:buNone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tabLst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1800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lang="nb-NO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 dirty="0"/>
              <a:t>Navigate the energy transition with confidence</a:t>
            </a:r>
          </a:p>
        </p:txBody>
      </p:sp>
    </p:spTree>
    <p:extLst>
      <p:ext uri="{BB962C8B-B14F-4D97-AF65-F5344CB8AC3E}">
        <p14:creationId xmlns:p14="http://schemas.microsoft.com/office/powerpoint/2010/main" val="42652207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EE4P_STYLE_ID" val="6cd991bf-f022-4378-96e7-2c338aeb3f5a"/>
  <p:tag name="GRUNT-HP-EF8ABE" val="TQAAAA=="/>
  <p:tag name="GRUNT-HP-DF43XA" val="8AAAAA=="/>
  <p:tag name="GRUNT-HP-15WMPB" val="EAAAAA=="/>
  <p:tag name="GRUNT-HP-92UT17" val="GgAAAA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" val="48d14ad4-6266-41fc-8fd9-8e3765b51ef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PAGEOBJECT" val="78a1fcbc-b292-42f6-9c17-f2ea4c8e2e4e"/>
  <p:tag name="GRUNT-X-RESOURCES" val="AQIFBAQEAgEA"/>
  <p:tag name="GRUNT-X-DATASERVICE" val="AQUC7w0KN0FsdHVhLkRhdGEuRGF0YVNlcnZpY2VzLkVtYmVkZGVkRGF0YVNlcnZpY2UsIEFsdHVhLkRhdGEFAhgEEgQQ0bnKnWo4V0SzJlqsbuBGfA0MFRAMBgUUCAUQBRAEBRgNGBQGBRwNIBUkGAAcAigsIAQwNDg8JOgCLAQoBBIEEPJ+syEzWa9DvejHL1lPbZkMEgQQDVgMfP82Xku9zgEBDKhwlg1ALAQoBBIEEH+7tHRKp31Ip7ZhyXdxNnkMEgQQLtGJpNI06kuhtl+TT5ElHg1ELAQoBBIEEH+7tHRKp31Ip7ZhyXdxNnkMEgQQUAxcOinN6E+Bob8FOCdoPA1ILAQoBBIEEH+7tHRKp31Ip7ZhyXdxNnkMEgQQDVgMfP82Xku9zgEBDKhwlg1MLAQoBBIEEPJ+syEzWa9DvejHL1lPbZkMEgQQUAxcOinN6E+Bob8FOCdoPA1QLAQoBBIEEH+7tHRKp31Ip7ZhyXdxNnkMEgQQFrXTqFPAQ0m02iMQIxfNew1ULAQoBBIEEPJ+syEzWa9DvejHL1lPbZkMEgQQFrXTqFPAQ0m02iMQIxfNew1YLAQoBBIEEPJ+syEzWa9DvejHL1lPbZkMEgQQLtGJpNI06kuhtl+TT5ElHg1cKBoEEgQQf7u0dEqnfUintmHJd3E2eQwCQzEQACwaBBIEEPJ+syEzWa9DvejHL1lPbZkMAkMyEAAwGgQSBBAu0Ymk0jTqS6G2X5NPkSUeDAJSMRAANBoEEgQQDVgMfP82Xku9zgEBDKhwlgwCUjIQADgaBBIEEFAMXDopzehPgaG/BTgnaDwMAlIzEAA8GgQSBBAWtdOoU8BDSbTaIxAjF817DAJSNBAAQAQNYBVkRAQNYBVoSAQNYBVoTAQNYBVoUAQNYBVsVAQNYBVoWAQNYBVwXAQNYBV0YAIEAGQEBAIFeGgEBAIFfGwFBAMFgAFwBQQDBYQBdAUEAwWIAXgFAQGNASR8AgEAgAEFAQGVASSEAQUBAZkBJIgBBQEBnQEkkgEvQWx0dWEuRGF0YS5JbmZyYXN0cnVjdHVyZS5QYXJhZ3JhcGgsIEFsdHVhLkRhdGGNASQFDAMFoAGVASQFDAMFpAGZASQFDAMFqAGdASQFDAMFrAGgAQUBAbEBLaQBBQEBuQEtqAEFAQG9AS2sAQgBAsEBMckBMbYBL0FsdHVhLkRhdGEuSW5mcmFzdHJ1Y3R1cmUuTnVtYmVyUnVuLCBBbHR1YS5EYXRhsQEtEgQNAwAAAAAAgFZAHc0BNA3UAbkBLRIEDQMAAAAAAAAkQB3ZATQN3AG9AS0SBA0DAAAAAAAAJEAd4QE0DeQBxgEtQWx0dWEuRGF0YS5JbmZyYXN0cnVjdHVyZS5UZXh0UnVuLCBBbHR1YS5EYXRhwQExBgQBSA3oAckBMRcEEjIgcHJvZHVjdGlvbiBjb3N0cw3sAdIBPUFsdHVhLkRhdGEuTnVtYmVyRm9ybWF0dGluZy5Db21wb3NpdGVOdW1iZXJGb3JtYXQsIEFsdHVhLkRhdGHNATQNHfABJfQBLAIFADX4AdQBFAQAHAAkACwANAA8AEQCBQBMAFQA2QE0DR38ASWAAiwCBQA1hALcARQEABwAJAAsADQAPABEAgUATABUAOEBNA0diAIljAIsAgUANZAC5AEUBAAcACQALAA0ADwARAIFAEwAVADoARQEABwAJAAsADQAPABEAgUATABUAOwBFAQAHAAkACwANAA8AEQCBQBMAFQA8AEJAAAMAwWUAhEA9AEJAAAMAwWYAhEA+AEMBAEuDALCoBQDWERS/AEJAAAMAwWcAhEAgAIJAAAMAwWgAhEAhAIMBAEuDALCoBQDWERSiAIJAAAMAwWkAhEAjAIJAAAMAwWoAhEAkAIMBAEuDALCoBQDWERSlAIFAQGtAkyYAggBArUCTq0CTJwCBQEBvQJMoAIIAQLBAk69AkykAgUBAcUCTKgCCAECyQJOxQJMsgJAQWx0dWEuRGF0YS5OdW1iZXJGb3JtYXR0aW5nLk51bWJlckZvcm1hdFZhbHVlU2VnbWVudCwgQWx0dWEuRGF0Ya0CTAUEAwXMAroCP0FsdHVhLkRhdGEuTnVtYmVyRm9ybWF0dGluZy5OdW1iZXJGb3JtYXRUZXh0U2VnbWVudCwgQWx0dWEuRGF0YbUCTgUEAS0JAb0CTAUEAwXQAsECTgUEAS0JAcUCTAUEAwXUAskCTgUEAS0JAcwCBQEB2QJX0AIFAQHZAlfUAgUBAdkCV94COUFsdHVhLkRhdGEuTnVtYmVyRm9ybWF0dGluZy5OdW1iZXJQbGFjZWhvbGRlciwgQWx0dWEuRGF0YdkCVwUCMAAAAA=="/>
  <p:tag name="GRUNT-RENDERHASH" val="9962b5a87844b0956461f0b43937442f"/>
  <p:tag name="GRUNT-X-SHAPEBOUNDS" val="ASIBBAAAAAAAoGJAAAAAAAAgakAAAAAAADBgQAAAAAAASHJAAA=="/>
  <p:tag name="GRUNT-X-PAGEOBJECT" val="AQUCrSYKOEFsdHVhLk9hay5Db3JlLkRvY3VtZW50TW9kZWwuQ2hhcnRPYmplY3QsIEFsdHVhLk9hay5Db3JlBQI1BBIEELz8oXiSsvZCnBfy6kyOLk4MEgQQ0bnKnWo4V0SzJlqsbuBGfBUNBCUUNRg9HFUgZSQSUEFsdHVhLk9hay5Db3JlLkRvY3VtZW50TW9kZWwuVGVtcGxhdGluZy5DdXN0b21Qb3NpdGlvbkRlZmluaXRpb24sIEFsdHVhLk9hay5Db3JlDQQkBCIBBIShB+UdzmJAAAAAsKJqakDh6WhIrG1fQAAAAAAA4HBAFBEVKB0sNTA4AEU1DkwCBTxVQBgEBAIFRBwCBUggDAVMDAZlbi0xNTAVUCQEAQAJASgWBBIEEAAAAAAAAAAAAAAAAAAAAAAIASwWBBIEEAAAAAAAAAAAAAAAAAAAAAAIATAAOkVBbHR1YS5PYWsuQ29yZS5DaGFydC5TdGFja2VkQmFyV2l0aExpbmVQbG90RGVmaW5pdGlvbiwgQWx0dWEuT2FrLkNvcmU1DjIEEgQQ0JFCprda+0GPNHFXMLYJShwCBVQlWDVcPAIFYEkBbWSlAWkbqQEAtQFxHb0BeDwCAQBAAgV8RAIBAEgATAsEAS4MASwUA1hEUlAKBAZlbi0xNTAIAVQEAQGAAVgKAAAIARQCBTwcAFwmBCIBBAAAAAAAABBAAAAAAAAAEEAAAAAAAAAQQAAAAAAAABBACARgAgEAZAsDAAAAAAAATEAIIG5FQWx0dWEuT2FrLkNvcmUuUGxvdHRpbmcuQXV0b21hdGljQ2F0ZWdvcnlBeGlzU2V0dGluZ3MsIEFsdHVhLk9hay5Db3JlaRsTAQENhAEQABkBMAA9iAFFjAFIAXY9QWx0dWEuT2FrLkNvcmUuVGhlbWluZy5QYWdlQ29sb3JTY2hlbWVQb2ludGVyLCBBbHR1YS5PYWsuQ29yZXEdAHhKNZABPZQBRZgBVZwBXaABdaQBjQGoAZ0BrAGlAbABrQG0Ac0BuAHVAbwB3QHAAeUBxAHtAcgB9QHMAf0B0AGFAtQBjQLYAZUC3AF8AIABQgEAGAMl4AEpADEAQABIAlXkAV3oAWQSBBCrDK7Qe1dJRbE1r3M80zk+bewBdfABjQH0AZEBAZ0B+AGlAfwBtQGAAoQBAgEAiAEGBYUCQggEjAEGBY0CQggEkAEFBAMFkAKUAQUEAwWUApgBBQQDBZgCnAEFBAMFnAKgAQUEAwWgAqQBBQQDBaACqAEFBAMFpAKsAQUEAwWoArABBQQDBawCtAEFBAMFsAK4AQUEAwW0ArwBBQQDBbgCwAEFBAMFvALEAQUEAwXAAsgBBQQDBcQCzAEFBAMFyALQAQUEAwXMAtQBBQQDBdAC2AEFBAMF1ALcAQUEAwXYAuABCwMAAAAAAAAAAAgC5AELAwAAAAAAAAAACAHoAQsDAAAAAAAAAAAIAewBFQXcAg3gAhXkAh3oAiXsAi3wAjX0AvABBw34AhX9AkL0AQsDAAAAAAAAAAAIBPgBBgWBA0IIBPwBBgWBA0IIBIACBQQDBYQDigIzQWx0dWEuT2FrLkNvcmUuVGhlbWluZy5Db2xvclBvaW50ZXIsIEFsdHVhLk9hay5Db3JlhQJCUFBQ/40CQlBQUP+QAgQBAYgDlAIOAQaMA5ADlAOYA5wDoAOYAgQBAaQDnAICAQCgAgIBAKQCAgEAqAIEAQGoA6wCDgEGrAOwA7QDuAO8A8ADsAICAQC0AhQBCcQDyAPMA9AD1APYA9wD4APkA7gCFAEJ6APsA/AD9AP4A/wDgASEBIgEvAICAQDAAgQBAYwExAIKAQSQBJQEmAScBMgCAgEAzAICAQDQAgIBANQCAgEA2AICAQDcAgcEAwQBAAgE4AIFBAEuCATkAgQAAQgE6AIEAAAIBOwCBAQACATwAgQEAAgE9AIEAAAIBPgCBQQDBaAE/QJCPj7l/4EDQlBQUP+EAwIBAIgDDgWlBIoBCwAAAAAAAPA/jAMOBa0EjAELAAAAAAAAAACQAw4FtQSOAQsAAAAAAAAAAJQDDgW9BJABCwAAAAAAAOA/mAMOBcUEkgELAAAAAAAA4D+cAw4FzQSUAQsAAAAAAADgP6ADDgXVBJYBCwAAAAAAAPg/pAMIBd0ElAEN4ASoAwkFpQSKAQ3lBEKsAwoF6QSMAQ3tBJwBsAMKBfUEkAEN+QScAbQDCgX9BJIBDYEFnAG4AwkFhQWiAQ2NBUK8AwoFkQWKAQ2VBZwBwAMJBaUEigENmQVCxAMHBZ0FqAEJAcgDBwWlBaoBCQDMAwcFrQWsAQkB0AMHBbUFrgEJAdQDBwW9BbABCQHYAwcFxQWyAQkA3AMHBc0FtAEJAOADBwXVBbQBCQDkAwcF2QW0AQkA6AMKBd0FuAEN5QW6AewDCgXtBbwBDfUFvgHwAwoF/QXAAQ2FBsIB9AMKBY0GwAENkQbFAfgDCgWZBqgBDZ0GyAH8AwoFpQayAQ2RBsUBgAQKBakGqgENrQbMAYQECgW1Bq4BDa0GzAGIBAoFuQawAQ29BtABjAQKBcUG0gENzQbUAZAECgXVBqoBDdkG1wGUBAoF4Qa8AQ3lBtcBmAQKBekGrgEN7QbXAZwECgXxBrgBDfUG1wGgBAQBAgEEqgRNQWx0dWEuT2FrLkNvcmUuTW9kaWZpY2F0aW9uLlN0eWxpbmcuU2VyaWVzQ3VzdG9taXphdGlvblRhcmdldCwgQWx0dWEuT2FrLkNvcmWlBIoBFAQSBBAnP7PX+A9FXa1WUOS6zpgEsgRTQWx0dWEuT2FrLkNvcmUuTW9kaWZpY2F0aW9uLlN0eWxpbmcuQWxsVmFsdWVBeGlzQ3VzdG9taXphdGlvblRhcmdldCwgQWx0dWEuT2FrLkNvcmWtBIwBALoEWUFsdHVhLk9hay5Db3JlLk1vZGlmaWNhdGlvbi5TdHlsaW5nLlZhbHVlQXhpc0dyaWRsaW5lc0N1c3RvbWl6YXRpb25UYXJnZXQsIEFsdHVhLk9hay5Db3JltQSOAQDCBFNBbHR1YS5PYWsuQ29yZS5Nb2RpZmljYXRpb24uU3R5bGluZy5DYXRlZ29yeUF4aXNDdXN0b21pemF0aW9uVGFyZ2V0LCBBbHR1YS5PYWsuQ29yZb0EkAEAygRQQWx0dWEuT2FrLkNvcmUuTW9kaWZpY2F0aW9uLlN0eWxpbmcuT3JpZ29MaW5lQ3VzdG9taXphdGlvblRhcmdldCwgQWx0dWEuT2FrLkNvcmXFBJIBANIEXUFsdHVhLk9hay5Db3JlLk1vZGlmaWNhdGlvbi5TdHlsaW5nLkFsbENvbm5lY3RvcnNBdXhpbGlhcnlDdXN0b21pemF0aW9uVGFyZ2V0LCBBbHR1YS5PYWsuQ29yZc0ElAEA2gRZQWx0dWEuT2FrLkNvcmUuTW9kaWZpY2F0aW9uLlN0eWxpbmcuU2VyaWVzV2l0aFBsb3RLaW5kQ3VzdG9taXphdGlvblRhcmdldCwgQWx0dWEuT2FrLkNvcmXVBJYBAwX4Bt0ElAEA4AQDBfwG5QRC6urq/+kEjAEA8gQ3QWx0dWEuT2FrLkNvcmUuVGhlbWluZy5QYWdlQ29sb3JQb2ludGVyLCBBbHR1YS5PYWsuQ29yZe0EnAEEAAAIAPUEkAEA+QScAQQAAAgA/QSSAQCBBZwBBAAACACKBVNBbHR1YS5PYWsuQ29yZS5Nb2RpZmljYXRpb24uU3R5bGluZy5BbGxHcmlkbGluZXNDdXN0b21pemF0aW9uVGFyZ2V0LCBBbHR1YS5PYWsuQ29yZYUFogEAjQVCgICA/5EFigEUBBIEEAVjLQzcnxpUrPeuMgq7SIiVBZwBBAAHCACZBULq6ur/ogVYQWx0dWEuT2FrLkNvcmUuTW9kaWZpY2F0aW9uLlN0eWxpbmcuU2VyaWVzTGFiZWxPZlR5cGVDdXN0b21pemF0aW9uVGFyZ2V0LCBBbHR1YS5PYWsuQ29yZZ0FqAECAAKqBVhBbHR1YS5PYWsuQ29yZS5Nb2RpZmljYXRpb24uU3R5bGluZy5BbGxWYWx1ZUF4aXNMYWJlbEN1c3RvbWl6YXRpb25UYXJnZXQsIEFsdHVhLk9hay5Db3JlpQWqAQCyBWZBbHR1YS5PYWsuQ29yZS5Nb2RpZmljYXRpb24uU3R5bGluZy5TdGFja2VkQmFyQXV0b21hdGljU2VnbWVudExhYmVsQ3VzdG9taXphdGlvblRhcmdldCwgQWx0dWEuT2FrLkNvcmWtBawBALoFV0FsdHVhLk9hay5Db3JlLk1vZGlmaWNhdGlvbi5TdHlsaW5nLkFsbENhdGVnb3J5TGFiZWxDdXN0b21pemF0aW9uVGFyZ2V0LCBBbHR1YS5PYWsuQ29yZbUFrgEAwgVYQWx0dWEuT2FrLkNvcmUuTW9kaWZpY2F0aW9uLlN0eWxpbmcuQWxsQXV4aWxpYXJ5TGFiZWxDdXN0b21pemF0aW9uVGFyZ2V0LCBBbHR1YS5PYWsuQ29yZb0FsAEAygVVQWx0dWEuT2FrLkNvcmUuTW9kaWZpY2F0aW9uLlN0eWxpbmcuQWxsVG90YWxMYWJlbHNDdXN0b21pemF0aW9uVGFyZ2V0LCBBbHR1YS5PYWsuQ29yZcUFsgEA0gVSQWx0dWEuT2FrLkNvcmUuTW9kaWZpY2F0aW9uLlN0eWxpbmcuU2VyaWVzTGFiZWxDdXN0b21pemF0aW9uVGFyZ2V0LCBBbHR1YS5PYWsuQ29yZc0FtAEWBBIEECc/s9f4D0VdrVZQ5LrOmAQIANUFtAEWBBIEEAVjLQzcnxpUrPeuMgq7SIgIANkFtAEWBBIEEMDuirH6rwlQlkaKwoeaNZcIAOIFWEFsdHVhLk9hay5Db3JlLk1vZGlmaWNhdGlvbi5TdHlsaW5nLkNhdGVnb3J5QXhpc1RpdGxlQ3VzdG9taXphdGlvblRhcmdldCwgQWx0dWEuT2FrLkNvcmXdBbgBAOoFRkFsdHVhLk9hay5Db3JlLlBsb3R0aW5nLkF4aXNUaXRsZUxhYmVsUGxhY2VtZW50T3V0c2lkZSwgQWx0dWEuT2FrLkNvcmXlBboBAgAB8gVdQWx0dWEuT2FrLkNvcmUuTW9kaWZpY2F0aW9uLlN0eWxpbmcuQWxsVmFsdWVBeGlzVGl0bGVMYWJlbEN1c3RvbWl6YXRpb25UYXJnZXQsIEFsdHVhLk9hay5Db3Jl7QW8AQD6BUJBbHR1YS5PYWsuQ29yZS5QbG90dGluZy5BeGlzVGl0bGVMYWJlbFBsYWNlbWVudEZhciwgQWx0dWEuT2FrLkNvcmX1Bb4BAgAAggZfQWx0dWEuT2FrLkNvcmUuTW9kaWZpY2F0aW9uLlN0eWxpbmcuU2VyaWVzTGFiZWxzV2l0aFBsb3RLaW5kQ3VzdG9taXphdGlvblRhcmdldCwgQWx0dWEuT2FrLkNvcmX9BcABBQWABwgAigY8QWx0dWEuT2FrLkNvcmUuUGxvdHRpbmcuTGFiZWxQbGFjZW1lbnRJbnNpZGUsIEFsdHVhLk9hay5Db3JlhQbCAQQAAQgBjQbAAQUFhAcIAJYGPUFsdHVhLk9hay5Db3JlLlBsb3R0aW5nLkxhYmVsUGxhY2VtZW50T3V0c2lkZSwgQWx0dWEuT2FrLkNvcmWRBsUBAJkGqAECAAKiBkNBbHR1YS5PYWsuQ29yZS5QbG90dGluZy5MYWJlbFBsYWNlbWVudFNlcmllc091dHNpZGUsIEFsdHVhLk9hay5Db3JlnQbIAQIAAKUGsgEAqQaqAQCyBkFBbHR1YS5PYWsuQ29yZS5QbG90dGluZy5BeGlzTGFiZWxQbGFjZW1lbnRPdXRzaWRlLCBBbHR1YS5PYWsuQ29yZa0GzAECAQC1Bq4BALkGsAEAwgZGQWx0dWEuT2FrLkNvcmUuUGxvdHRpbmcuQXV4aWxpYXJ5TGFiZWxQbGFjZW1lbnREZWZhdWx0LCBBbHR1YS5PYWsuQ29yZb0G0AEAygZQQWx0dWEuT2FrLkNvcmUuTW9kaWZpY2F0aW9uLlN0eWxpbmcuQWxsTGFiZWxzQ3VzdG9taXphdGlvblRhcmdldCwgQWx0dWEuT2FrLkNvcmXFBtIBANIGQkFsdHVhLk9hay5Db3JlLlN5bnRheFN0cnVjdHVyZS5BY3R1YWxGb250U2l6ZVZhbHVlLCBBbHR1YS5PYWsuQ29yZc0G1AEJAwAAAAAAAChA1QaqAQDeBkNBbHR1YS5PYWsuQ29yZS5TeW50YXhTdHJ1Y3R1cmUuQWN0dWFsRm9udENvbG9yVmFsdWUsIEFsdHVhLk9hay5Db3Jl2QbXAQUFiQecAeEGvAEA5QbXAQUFjQecAekGrgEA7QbXAQUFkQecAfEGuAEA9QbXAQUFlQecAfgGAQX8BgoBAgAAgEAAAEBAgAcCAAGEBwEFiQecAQQAAAgAjQecAQQAAAgAkQecAQQAAAgAlQecAQQAAAgA"/>
  <p:tag name="GRUNT-VERSION" val="20.22.184.0"/>
  <p:tag name="GRUNT-SYNC" val="ed0871b803a5465683deacd5b971d00f"/>
</p:tagLst>
</file>

<file path=ppt/theme/theme1.xml><?xml version="1.0" encoding="utf-8"?>
<a:theme xmlns:a="http://schemas.openxmlformats.org/drawingml/2006/main" name="Theme_THEMA">
  <a:themeElements>
    <a:clrScheme name="THEMA">
      <a:dk1>
        <a:srgbClr val="000000"/>
      </a:dk1>
      <a:lt1>
        <a:srgbClr val="FFFFFF"/>
      </a:lt1>
      <a:dk2>
        <a:srgbClr val="1E4B50"/>
      </a:dk2>
      <a:lt2>
        <a:srgbClr val="FFFFFF"/>
      </a:lt2>
      <a:accent1>
        <a:srgbClr val="72AEB8"/>
      </a:accent1>
      <a:accent2>
        <a:srgbClr val="CECECE"/>
      </a:accent2>
      <a:accent3>
        <a:srgbClr val="799232"/>
      </a:accent3>
      <a:accent4>
        <a:srgbClr val="285A64"/>
      </a:accent4>
      <a:accent5>
        <a:srgbClr val="FACD41"/>
      </a:accent5>
      <a:accent6>
        <a:srgbClr val="968C6D"/>
      </a:accent6>
      <a:hlink>
        <a:srgbClr val="0563C1"/>
      </a:hlink>
      <a:folHlink>
        <a:srgbClr val="0563C1"/>
      </a:folHlink>
    </a:clrScheme>
    <a:fontScheme name="Calibri / Calibri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 bwMode="auto">
        <a:ln>
          <a:headEnd type="none" w="med" len="med"/>
          <a:tailEnd type="none" w="med" len="med"/>
        </a:ln>
      </a:spPr>
      <a:bodyPr/>
      <a:lstStyle/>
      <a:style>
        <a:lnRef idx="3">
          <a:schemeClr val="dk1"/>
        </a:lnRef>
        <a:fillRef idx="0">
          <a:schemeClr val="dk1"/>
        </a:fillRef>
        <a:effectRef idx="2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algn="l">
          <a:defRPr sz="1400" dirty="0" err="1" smtClean="0"/>
        </a:defPPr>
      </a:lstStyle>
    </a:tx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4C4C4C"/>
        </a:dk1>
        <a:lt1>
          <a:srgbClr val="FFFFFF"/>
        </a:lt1>
        <a:dk2>
          <a:srgbClr val="4C4C4C"/>
        </a:dk2>
        <a:lt2>
          <a:srgbClr val="B3B3B3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40404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A_PPT_new slidemaster_corrected" id="{5D10E7B1-0879-4B14-BAD4-23A0A509DEAF}" vid="{09A79CBB-4CAE-48A6-A866-157AD11C115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2b2a0012-ffc0-4c19-96b7-08ee5f4c9d39" xsi:nil="true"/>
    <lcf76f155ced4ddcb4097134ff3c332f xmlns="89b70164-f4b4-4b56-bb01-3eef161570db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643DCADB1BCC24D851B7D61386AC177" ma:contentTypeVersion="14" ma:contentTypeDescription="Opprett et nytt dokument." ma:contentTypeScope="" ma:versionID="efdcdadf17504249092944d9fdddf0c5">
  <xsd:schema xmlns:xsd="http://www.w3.org/2001/XMLSchema" xmlns:xs="http://www.w3.org/2001/XMLSchema" xmlns:p="http://schemas.microsoft.com/office/2006/metadata/properties" xmlns:ns2="89b70164-f4b4-4b56-bb01-3eef161570db" xmlns:ns3="2b2a0012-ffc0-4c19-96b7-08ee5f4c9d39" targetNamespace="http://schemas.microsoft.com/office/2006/metadata/properties" ma:root="true" ma:fieldsID="b026b08d7dcaddc70571484ee58e47aa" ns2:_="" ns3:_="">
    <xsd:import namespace="89b70164-f4b4-4b56-bb01-3eef161570db"/>
    <xsd:import namespace="2b2a0012-ffc0-4c19-96b7-08ee5f4c9d3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9b70164-f4b4-4b56-bb01-3eef161570d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Bildemerkelapper" ma:readOnly="false" ma:fieldId="{5cf76f15-5ced-4ddc-b409-7134ff3c332f}" ma:taxonomyMulti="true" ma:sspId="dd2ed190-0eb2-45db-8726-add174f88eb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2a0012-ffc0-4c19-96b7-08ee5f4c9d39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ca8c213a-5684-40d7-b7e2-b3f1f567a30d}" ma:internalName="TaxCatchAll" ma:showField="CatchAllData" ma:web="2b2a0012-ffc0-4c19-96b7-08ee5f4c9d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C7040DE-BF2D-4C0F-9B15-1C3AC3F4C4EC}">
  <ds:schemaRefs>
    <ds:schemaRef ds:uri="http://purl.org/dc/terms/"/>
    <ds:schemaRef ds:uri="56c33518-606b-4cab-a180-b86718422339"/>
    <ds:schemaRef ds:uri="http://schemas.microsoft.com/office/2006/documentManagement/types"/>
    <ds:schemaRef ds:uri="http://schemas.microsoft.com/office/infopath/2007/PartnerControls"/>
    <ds:schemaRef ds:uri="1f326030-884a-4179-9d08-34c13311ba3e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0872543-0152-40BF-8479-855FB97C30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0A4F2D6-1B9D-41E5-9B3C-C673CA790575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8</TotalTime>
  <Words>364</Words>
  <Application>Microsoft Office PowerPoint</Application>
  <PresentationFormat>Widescreen</PresentationFormat>
  <Paragraphs>47</Paragraphs>
  <Slides>5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9" baseType="lpstr">
      <vt:lpstr>Arial</vt:lpstr>
      <vt:lpstr>Calibri</vt:lpstr>
      <vt:lpstr>Wingdings</vt:lpstr>
      <vt:lpstr>Theme_THEMA</vt:lpstr>
      <vt:lpstr>Effect of flexible H2 generation on production cost</vt:lpstr>
      <vt:lpstr>Production costs for green hydrogen are dominated by electricity costs Consider grid-connected electrolysis with spot market electricity prices</vt:lpstr>
      <vt:lpstr>Electricity prices vary – dynamic operation can reduce electricity cost and thus hydrogen production costs</vt:lpstr>
      <vt:lpstr>The decrease of costs and overall profits depends on the electricity market environment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s Berg Byenstuen | THEMA</dc:creator>
  <cp:lastModifiedBy>Robert Seguin | THEMA</cp:lastModifiedBy>
  <cp:revision>21</cp:revision>
  <cp:lastPrinted>2017-12-20T10:19:28Z</cp:lastPrinted>
  <dcterms:created xsi:type="dcterms:W3CDTF">2022-09-28T00:30:45Z</dcterms:created>
  <dcterms:modified xsi:type="dcterms:W3CDTF">2022-11-16T08:49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9B92D8133586C4DB35A2F44AE76F1FC</vt:lpwstr>
  </property>
  <property fmtid="{D5CDD505-2E9C-101B-9397-08002B2CF9AE}" pid="3" name="MediaServiceImageTags">
    <vt:lpwstr/>
  </property>
</Properties>
</file>